
<file path=[Content_Types].xml><?xml version="1.0" encoding="utf-8"?>
<Types xmlns="http://schemas.openxmlformats.org/package/2006/content-types">
  <Default Extension="bin" ContentType="image/jpeg"/>
  <Default Extension="emf" ContentType="image/x-emf"/>
  <Default Extension="jfif"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6.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9.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12.xml" ContentType="application/vnd.openxmlformats-officedocument.presentationml.tags+xml"/>
  <Override PartName="/ppt/tags/tag13.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6.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9.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14.xml" ContentType="application/vnd.openxmlformats-officedocument.presentationml.tags+xml"/>
  <Override PartName="/ppt/tags/tag15.xml" ContentType="application/vnd.openxmlformats-officedocument.presentationml.tags+xml"/>
  <Override PartName="/ppt/notesSlides/notesSlide20.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21.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tags/tag20.xml" ContentType="application/vnd.openxmlformats-officedocument.presentationml.tags+xml"/>
  <Override PartName="/ppt/tags/tag21.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27.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tags/tag22.xml" ContentType="application/vnd.openxmlformats-officedocument.presentationml.tags+xml"/>
  <Override PartName="/ppt/tags/tag23.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33.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34.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35.xml" ContentType="application/vnd.openxmlformats-officedocument.presentationml.notesSlide+xml"/>
  <Override PartName="/ppt/tags/tag24.xml" ContentType="application/vnd.openxmlformats-officedocument.presentationml.tags+xml"/>
  <Override PartName="/ppt/notesSlides/notesSlide36.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notesSlides/notesSlide39.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notesSlides/notesSlide42.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notesSlides/notesSlide43.xml" ContentType="application/vnd.openxmlformats-officedocument.presentationml.notesSlide+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tags/tag29.xml" ContentType="application/vnd.openxmlformats-officedocument.presentationml.tags+xml"/>
  <Override PartName="/ppt/notesSlides/notesSlide44.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notesSlides/notesSlide47.xml" ContentType="application/vnd.openxmlformats-officedocument.presentationml.notesSlide+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6" r:id="rId18"/>
  </p:sldMasterIdLst>
  <p:notesMasterIdLst>
    <p:notesMasterId r:id="rId73"/>
  </p:notesMasterIdLst>
  <p:handoutMasterIdLst>
    <p:handoutMasterId r:id="rId74"/>
  </p:handoutMasterIdLst>
  <p:sldIdLst>
    <p:sldId id="260" r:id="rId19"/>
    <p:sldId id="258" r:id="rId20"/>
    <p:sldId id="562" r:id="rId21"/>
    <p:sldId id="561" r:id="rId22"/>
    <p:sldId id="534" r:id="rId23"/>
    <p:sldId id="257" r:id="rId24"/>
    <p:sldId id="610" r:id="rId25"/>
    <p:sldId id="611" r:id="rId26"/>
    <p:sldId id="612" r:id="rId27"/>
    <p:sldId id="613" r:id="rId28"/>
    <p:sldId id="614" r:id="rId29"/>
    <p:sldId id="531" r:id="rId30"/>
    <p:sldId id="639" r:id="rId31"/>
    <p:sldId id="560" r:id="rId32"/>
    <p:sldId id="563" r:id="rId33"/>
    <p:sldId id="564" r:id="rId34"/>
    <p:sldId id="565" r:id="rId35"/>
    <p:sldId id="566" r:id="rId36"/>
    <p:sldId id="615" r:id="rId37"/>
    <p:sldId id="616" r:id="rId38"/>
    <p:sldId id="625" r:id="rId39"/>
    <p:sldId id="641" r:id="rId40"/>
    <p:sldId id="618" r:id="rId41"/>
    <p:sldId id="619" r:id="rId42"/>
    <p:sldId id="640" r:id="rId43"/>
    <p:sldId id="568" r:id="rId44"/>
    <p:sldId id="569" r:id="rId45"/>
    <p:sldId id="570" r:id="rId46"/>
    <p:sldId id="571" r:id="rId47"/>
    <p:sldId id="572" r:id="rId48"/>
    <p:sldId id="573" r:id="rId49"/>
    <p:sldId id="626" r:id="rId50"/>
    <p:sldId id="627" r:id="rId51"/>
    <p:sldId id="628" r:id="rId52"/>
    <p:sldId id="629" r:id="rId53"/>
    <p:sldId id="635" r:id="rId54"/>
    <p:sldId id="630" r:id="rId55"/>
    <p:sldId id="631" r:id="rId56"/>
    <p:sldId id="632" r:id="rId57"/>
    <p:sldId id="633" r:id="rId58"/>
    <p:sldId id="634" r:id="rId59"/>
    <p:sldId id="574" r:id="rId60"/>
    <p:sldId id="576" r:id="rId61"/>
    <p:sldId id="577" r:id="rId62"/>
    <p:sldId id="578" r:id="rId63"/>
    <p:sldId id="579" r:id="rId64"/>
    <p:sldId id="580" r:id="rId65"/>
    <p:sldId id="636" r:id="rId66"/>
    <p:sldId id="637" r:id="rId67"/>
    <p:sldId id="581" r:id="rId68"/>
    <p:sldId id="583" r:id="rId69"/>
    <p:sldId id="584" r:id="rId70"/>
    <p:sldId id="638" r:id="rId71"/>
    <p:sldId id="259" r:id="rId72"/>
  </p:sldIdLst>
  <p:sldSz cx="12192000" cy="6858000"/>
  <p:notesSz cx="6858000" cy="9144000"/>
  <p:custDataLst>
    <p:tags r:id="rId7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5129D47B-4A75-483E-8FE7-264783849CC3}">
          <p14:sldIdLst>
            <p14:sldId id="260"/>
            <p14:sldId id="258"/>
            <p14:sldId id="562"/>
          </p14:sldIdLst>
        </p14:section>
        <p14:section name="Lesson1" id="{25ADF4C8-2200-4410-9F45-B05F5BA6D4E6}">
          <p14:sldIdLst>
            <p14:sldId id="561"/>
            <p14:sldId id="534"/>
            <p14:sldId id="257"/>
            <p14:sldId id="610"/>
            <p14:sldId id="611"/>
            <p14:sldId id="612"/>
            <p14:sldId id="613"/>
            <p14:sldId id="614"/>
            <p14:sldId id="531"/>
            <p14:sldId id="639"/>
            <p14:sldId id="560"/>
            <p14:sldId id="563"/>
          </p14:sldIdLst>
        </p14:section>
        <p14:section name="Lesson2" id="{6F639A05-2893-48A9-A600-6681E43668C4}">
          <p14:sldIdLst>
            <p14:sldId id="564"/>
            <p14:sldId id="565"/>
            <p14:sldId id="566"/>
            <p14:sldId id="615"/>
            <p14:sldId id="616"/>
            <p14:sldId id="625"/>
            <p14:sldId id="641"/>
            <p14:sldId id="618"/>
            <p14:sldId id="619"/>
            <p14:sldId id="640"/>
            <p14:sldId id="568"/>
            <p14:sldId id="569"/>
            <p14:sldId id="570"/>
          </p14:sldIdLst>
        </p14:section>
        <p14:section name="Lesson3" id="{555EB127-B06E-428F-91FE-B308FD5309AF}">
          <p14:sldIdLst>
            <p14:sldId id="571"/>
            <p14:sldId id="572"/>
            <p14:sldId id="573"/>
            <p14:sldId id="626"/>
            <p14:sldId id="627"/>
            <p14:sldId id="628"/>
            <p14:sldId id="629"/>
            <p14:sldId id="635"/>
            <p14:sldId id="630"/>
            <p14:sldId id="631"/>
            <p14:sldId id="632"/>
            <p14:sldId id="633"/>
            <p14:sldId id="634"/>
            <p14:sldId id="574"/>
            <p14:sldId id="576"/>
            <p14:sldId id="577"/>
          </p14:sldIdLst>
        </p14:section>
        <p14:section name="Lesson4" id="{766836C7-99A8-40DF-9E34-AE1AE5FDDA20}">
          <p14:sldIdLst>
            <p14:sldId id="578"/>
            <p14:sldId id="579"/>
            <p14:sldId id="580"/>
            <p14:sldId id="636"/>
            <p14:sldId id="637"/>
            <p14:sldId id="581"/>
            <p14:sldId id="583"/>
            <p14:sldId id="584"/>
          </p14:sldIdLst>
        </p14:section>
        <p14:section name="End" id="{A9B956E0-6347-48E3-8051-4871C83A886F}">
          <p14:sldIdLst>
            <p14:sldId id="638"/>
            <p14:sldId id="25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vid Treuling" initials="DT" lastIdx="1" clrIdx="0">
    <p:extLst>
      <p:ext uri="{19B8F6BF-5375-455C-9EA6-DF929625EA0E}">
        <p15:presenceInfo xmlns:p15="http://schemas.microsoft.com/office/powerpoint/2012/main" userId="S::devidt@microsoft.com::59319ebe-00e0-4bed-b2ef-326bd7e504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50E6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A082B49-457A-4188-BE92-6C211BDE34B2}" v="45" dt="2020-05-19T22:13:46.159"/>
  </p1510:revLst>
</p1510:revInfo>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184" autoAdjust="0"/>
    <p:restoredTop sz="36304" autoAdjust="0"/>
  </p:normalViewPr>
  <p:slideViewPr>
    <p:cSldViewPr showGuides="1">
      <p:cViewPr varScale="1">
        <p:scale>
          <a:sx n="26" d="100"/>
          <a:sy n="26" d="100"/>
        </p:scale>
        <p:origin x="2323" y="34"/>
      </p:cViewPr>
      <p:guideLst/>
    </p:cSldViewPr>
  </p:slideViewPr>
  <p:notesTextViewPr>
    <p:cViewPr>
      <p:scale>
        <a:sx n="1" d="1"/>
        <a:sy n="1" d="1"/>
      </p:scale>
      <p:origin x="0" y="0"/>
    </p:cViewPr>
  </p:notesTextViewPr>
  <p:sorterViewPr>
    <p:cViewPr varScale="1">
      <p:scale>
        <a:sx n="1" d="1"/>
        <a:sy n="1" d="1"/>
      </p:scale>
      <p:origin x="0" y="0"/>
    </p:cViewPr>
  </p:sorterViewPr>
  <p:notesViewPr>
    <p:cSldViewPr showGuides="1">
      <p:cViewPr varScale="1">
        <p:scale>
          <a:sx n="105" d="100"/>
          <a:sy n="105" d="100"/>
        </p:scale>
        <p:origin x="6826" y="62"/>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8.xml"/><Relationship Id="rId21" Type="http://schemas.openxmlformats.org/officeDocument/2006/relationships/slide" Target="slides/slide3.xml"/><Relationship Id="rId42" Type="http://schemas.openxmlformats.org/officeDocument/2006/relationships/slide" Target="slides/slide24.xml"/><Relationship Id="rId47" Type="http://schemas.openxmlformats.org/officeDocument/2006/relationships/slide" Target="slides/slide29.xml"/><Relationship Id="rId63" Type="http://schemas.openxmlformats.org/officeDocument/2006/relationships/slide" Target="slides/slide45.xml"/><Relationship Id="rId68" Type="http://schemas.openxmlformats.org/officeDocument/2006/relationships/slide" Target="slides/slide50.xml"/><Relationship Id="rId16" Type="http://schemas.openxmlformats.org/officeDocument/2006/relationships/customXml" Target="../customXml/item16.xml"/><Relationship Id="rId11" Type="http://schemas.openxmlformats.org/officeDocument/2006/relationships/customXml" Target="../customXml/item11.xml"/><Relationship Id="rId32" Type="http://schemas.openxmlformats.org/officeDocument/2006/relationships/slide" Target="slides/slide14.xml"/><Relationship Id="rId37" Type="http://schemas.openxmlformats.org/officeDocument/2006/relationships/slide" Target="slides/slide19.xml"/><Relationship Id="rId53" Type="http://schemas.openxmlformats.org/officeDocument/2006/relationships/slide" Target="slides/slide35.xml"/><Relationship Id="rId58" Type="http://schemas.openxmlformats.org/officeDocument/2006/relationships/slide" Target="slides/slide40.xml"/><Relationship Id="rId74" Type="http://schemas.openxmlformats.org/officeDocument/2006/relationships/handoutMaster" Target="handoutMasters/handoutMaster1.xml"/><Relationship Id="rId79" Type="http://schemas.openxmlformats.org/officeDocument/2006/relationships/theme" Target="theme/theme1.xml"/><Relationship Id="rId5" Type="http://schemas.openxmlformats.org/officeDocument/2006/relationships/customXml" Target="../customXml/item5.xml"/><Relationship Id="rId61" Type="http://schemas.openxmlformats.org/officeDocument/2006/relationships/slide" Target="slides/slide43.xml"/><Relationship Id="rId82" Type="http://schemas.microsoft.com/office/2015/10/relationships/revisionInfo" Target="revisionInfo.xml"/><Relationship Id="rId19" Type="http://schemas.openxmlformats.org/officeDocument/2006/relationships/slide" Target="slides/slide1.xml"/><Relationship Id="rId14" Type="http://schemas.openxmlformats.org/officeDocument/2006/relationships/customXml" Target="../customXml/item14.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56" Type="http://schemas.openxmlformats.org/officeDocument/2006/relationships/slide" Target="slides/slide38.xml"/><Relationship Id="rId64" Type="http://schemas.openxmlformats.org/officeDocument/2006/relationships/slide" Target="slides/slide46.xml"/><Relationship Id="rId69" Type="http://schemas.openxmlformats.org/officeDocument/2006/relationships/slide" Target="slides/slide51.xml"/><Relationship Id="rId77" Type="http://schemas.openxmlformats.org/officeDocument/2006/relationships/presProps" Target="presProps.xml"/><Relationship Id="rId8" Type="http://schemas.openxmlformats.org/officeDocument/2006/relationships/customXml" Target="../customXml/item8.xml"/><Relationship Id="rId51" Type="http://schemas.openxmlformats.org/officeDocument/2006/relationships/slide" Target="slides/slide33.xml"/><Relationship Id="rId72" Type="http://schemas.openxmlformats.org/officeDocument/2006/relationships/slide" Target="slides/slide54.xml"/><Relationship Id="rId80"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slide" Target="slides/slide41.xml"/><Relationship Id="rId67" Type="http://schemas.openxmlformats.org/officeDocument/2006/relationships/slide" Target="slides/slide49.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slide" Target="slides/slide36.xml"/><Relationship Id="rId62" Type="http://schemas.openxmlformats.org/officeDocument/2006/relationships/slide" Target="slides/slide44.xml"/><Relationship Id="rId70" Type="http://schemas.openxmlformats.org/officeDocument/2006/relationships/slide" Target="slides/slide52.xml"/><Relationship Id="rId75"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slide" Target="slides/slide39.xml"/><Relationship Id="rId10" Type="http://schemas.openxmlformats.org/officeDocument/2006/relationships/customXml" Target="../customXml/item10.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slide" Target="slides/slide42.xml"/><Relationship Id="rId65" Type="http://schemas.openxmlformats.org/officeDocument/2006/relationships/slide" Target="slides/slide47.xml"/><Relationship Id="rId73" Type="http://schemas.openxmlformats.org/officeDocument/2006/relationships/notesMaster" Target="notesMasters/notesMaster1.xml"/><Relationship Id="rId78" Type="http://schemas.openxmlformats.org/officeDocument/2006/relationships/viewProps" Target="viewProps.xml"/><Relationship Id="rId81" Type="http://schemas.microsoft.com/office/2016/11/relationships/changesInfo" Target="changesInfos/changesInfo1.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slideMaster" Target="slideMasters/slideMaster1.xml"/><Relationship Id="rId39" Type="http://schemas.openxmlformats.org/officeDocument/2006/relationships/slide" Target="slides/slide21.xml"/><Relationship Id="rId34" Type="http://schemas.openxmlformats.org/officeDocument/2006/relationships/slide" Target="slides/slide16.xml"/><Relationship Id="rId50" Type="http://schemas.openxmlformats.org/officeDocument/2006/relationships/slide" Target="slides/slide32.xml"/><Relationship Id="rId55" Type="http://schemas.openxmlformats.org/officeDocument/2006/relationships/slide" Target="slides/slide37.xml"/><Relationship Id="rId76" Type="http://schemas.openxmlformats.org/officeDocument/2006/relationships/commentAuthors" Target="commentAuthors.xml"/><Relationship Id="rId7" Type="http://schemas.openxmlformats.org/officeDocument/2006/relationships/customXml" Target="../customXml/item7.xml"/><Relationship Id="rId71" Type="http://schemas.openxmlformats.org/officeDocument/2006/relationships/slide" Target="slides/slide53.xml"/><Relationship Id="rId2" Type="http://schemas.openxmlformats.org/officeDocument/2006/relationships/customXml" Target="../customXml/item2.xml"/><Relationship Id="rId29" Type="http://schemas.openxmlformats.org/officeDocument/2006/relationships/slide" Target="slides/slide11.xml"/><Relationship Id="rId24" Type="http://schemas.openxmlformats.org/officeDocument/2006/relationships/slide" Target="slides/slide6.xml"/><Relationship Id="rId40" Type="http://schemas.openxmlformats.org/officeDocument/2006/relationships/slide" Target="slides/slide22.xml"/><Relationship Id="rId45" Type="http://schemas.openxmlformats.org/officeDocument/2006/relationships/slide" Target="slides/slide27.xml"/><Relationship Id="rId66" Type="http://schemas.openxmlformats.org/officeDocument/2006/relationships/slide" Target="slides/slide4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atuhan Yildiz" userId="90f344fc-4655-4923-aeaf-697bba59c1a7" providerId="ADAL" clId="{5940AEE5-5E81-4D95-B9CB-7440B23286A1}"/>
    <pc:docChg chg="modSld">
      <pc:chgData name="Batuhan Yildiz" userId="90f344fc-4655-4923-aeaf-697bba59c1a7" providerId="ADAL" clId="{5940AEE5-5E81-4D95-B9CB-7440B23286A1}" dt="2020-03-31T00:35:15.242" v="2" actId="13782"/>
      <pc:docMkLst>
        <pc:docMk/>
      </pc:docMkLst>
      <pc:sldChg chg="modSp">
        <pc:chgData name="Batuhan Yildiz" userId="90f344fc-4655-4923-aeaf-697bba59c1a7" providerId="ADAL" clId="{5940AEE5-5E81-4D95-B9CB-7440B23286A1}" dt="2020-03-31T00:33:54.246" v="1" actId="13782"/>
        <pc:sldMkLst>
          <pc:docMk/>
          <pc:sldMk cId="930357219" sldId="632"/>
        </pc:sldMkLst>
        <pc:graphicFrameChg chg="mod">
          <ac:chgData name="Batuhan Yildiz" userId="90f344fc-4655-4923-aeaf-697bba59c1a7" providerId="ADAL" clId="{5940AEE5-5E81-4D95-B9CB-7440B23286A1}" dt="2020-03-31T00:33:54.246" v="1" actId="13782"/>
          <ac:graphicFrameMkLst>
            <pc:docMk/>
            <pc:sldMk cId="930357219" sldId="632"/>
            <ac:graphicFrameMk id="4" creationId="{0F433426-1A58-49CD-AA31-00AD90106957}"/>
          </ac:graphicFrameMkLst>
        </pc:graphicFrameChg>
      </pc:sldChg>
      <pc:sldChg chg="modSp modAnim">
        <pc:chgData name="Batuhan Yildiz" userId="90f344fc-4655-4923-aeaf-697bba59c1a7" providerId="ADAL" clId="{5940AEE5-5E81-4D95-B9CB-7440B23286A1}" dt="2020-03-31T00:35:15.242" v="2" actId="13782"/>
        <pc:sldMkLst>
          <pc:docMk/>
          <pc:sldMk cId="896717437" sldId="636"/>
        </pc:sldMkLst>
        <pc:graphicFrameChg chg="mod">
          <ac:chgData name="Batuhan Yildiz" userId="90f344fc-4655-4923-aeaf-697bba59c1a7" providerId="ADAL" clId="{5940AEE5-5E81-4D95-B9CB-7440B23286A1}" dt="2020-03-31T00:35:15.242" v="2" actId="13782"/>
          <ac:graphicFrameMkLst>
            <pc:docMk/>
            <pc:sldMk cId="896717437" sldId="636"/>
            <ac:graphicFrameMk id="7" creationId="{8609A548-C888-4283-8BB1-1C27A8601CFE}"/>
          </ac:graphicFrameMkLst>
        </pc:graphicFrameChg>
      </pc:sldChg>
    </pc:docChg>
  </pc:docChgLst>
  <pc:docChgLst>
    <pc:chgData name="Batuhan Yildiz" userId="90f344fc-4655-4923-aeaf-697bba59c1a7" providerId="ADAL" clId="{02870C02-BDE2-4298-BBAE-AA8CA1DE1162}"/>
    <pc:docChg chg="undo custSel addSld delSld modSld modSection">
      <pc:chgData name="Batuhan Yildiz" userId="90f344fc-4655-4923-aeaf-697bba59c1a7" providerId="ADAL" clId="{02870C02-BDE2-4298-BBAE-AA8CA1DE1162}" dt="2020-04-30T19:06:58.661" v="131" actId="14100"/>
      <pc:docMkLst>
        <pc:docMk/>
      </pc:docMkLst>
      <pc:sldChg chg="modSp mod modNotesTx">
        <pc:chgData name="Batuhan Yildiz" userId="90f344fc-4655-4923-aeaf-697bba59c1a7" providerId="ADAL" clId="{02870C02-BDE2-4298-BBAE-AA8CA1DE1162}" dt="2020-04-30T17:33:51.872" v="11" actId="20577"/>
        <pc:sldMkLst>
          <pc:docMk/>
          <pc:sldMk cId="3841611615" sldId="531"/>
        </pc:sldMkLst>
        <pc:spChg chg="mod">
          <ac:chgData name="Batuhan Yildiz" userId="90f344fc-4655-4923-aeaf-697bba59c1a7" providerId="ADAL" clId="{02870C02-BDE2-4298-BBAE-AA8CA1DE1162}" dt="2020-04-30T17:33:05.241" v="2" actId="20577"/>
          <ac:spMkLst>
            <pc:docMk/>
            <pc:sldMk cId="3841611615" sldId="531"/>
            <ac:spMk id="3" creationId="{8F64A22E-2B43-4FC6-AF08-0CDB3F9E9269}"/>
          </ac:spMkLst>
        </pc:spChg>
        <pc:spChg chg="mod">
          <ac:chgData name="Batuhan Yildiz" userId="90f344fc-4655-4923-aeaf-697bba59c1a7" providerId="ADAL" clId="{02870C02-BDE2-4298-BBAE-AA8CA1DE1162}" dt="2020-04-30T17:33:25.954" v="8" actId="947"/>
          <ac:spMkLst>
            <pc:docMk/>
            <pc:sldMk cId="3841611615" sldId="531"/>
            <ac:spMk id="6" creationId="{637E159C-9ACF-48AE-927A-D5FB13695C7F}"/>
          </ac:spMkLst>
        </pc:spChg>
      </pc:sldChg>
      <pc:sldChg chg="modSp">
        <pc:chgData name="Batuhan Yildiz" userId="90f344fc-4655-4923-aeaf-697bba59c1a7" providerId="ADAL" clId="{02870C02-BDE2-4298-BBAE-AA8CA1DE1162}" dt="2020-04-30T18:53:41.014" v="46" actId="14100"/>
        <pc:sldMkLst>
          <pc:docMk/>
          <pc:sldMk cId="3735096506" sldId="563"/>
        </pc:sldMkLst>
        <pc:graphicFrameChg chg="mod">
          <ac:chgData name="Batuhan Yildiz" userId="90f344fc-4655-4923-aeaf-697bba59c1a7" providerId="ADAL" clId="{02870C02-BDE2-4298-BBAE-AA8CA1DE1162}" dt="2020-04-30T18:53:41.014" v="46" actId="14100"/>
          <ac:graphicFrameMkLst>
            <pc:docMk/>
            <pc:sldMk cId="3735096506" sldId="563"/>
            <ac:graphicFrameMk id="3" creationId="{9484E1FE-7534-495E-863C-657A46F5E628}"/>
          </ac:graphicFrameMkLst>
        </pc:graphicFrameChg>
      </pc:sldChg>
      <pc:sldChg chg="modSp del mod">
        <pc:chgData name="Batuhan Yildiz" userId="90f344fc-4655-4923-aeaf-697bba59c1a7" providerId="ADAL" clId="{02870C02-BDE2-4298-BBAE-AA8CA1DE1162}" dt="2020-04-30T17:34:46.444" v="24" actId="2696"/>
        <pc:sldMkLst>
          <pc:docMk/>
          <pc:sldMk cId="670385602" sldId="567"/>
        </pc:sldMkLst>
        <pc:spChg chg="mod">
          <ac:chgData name="Batuhan Yildiz" userId="90f344fc-4655-4923-aeaf-697bba59c1a7" providerId="ADAL" clId="{02870C02-BDE2-4298-BBAE-AA8CA1DE1162}" dt="2020-04-30T17:34:28.968" v="15" actId="20577"/>
          <ac:spMkLst>
            <pc:docMk/>
            <pc:sldMk cId="670385602" sldId="567"/>
            <ac:spMk id="3" creationId="{8F64A22E-2B43-4FC6-AF08-0CDB3F9E9269}"/>
          </ac:spMkLst>
        </pc:spChg>
        <pc:spChg chg="mod">
          <ac:chgData name="Batuhan Yildiz" userId="90f344fc-4655-4923-aeaf-697bba59c1a7" providerId="ADAL" clId="{02870C02-BDE2-4298-BBAE-AA8CA1DE1162}" dt="2020-04-30T17:34:45.046" v="22" actId="12"/>
          <ac:spMkLst>
            <pc:docMk/>
            <pc:sldMk cId="670385602" sldId="567"/>
            <ac:spMk id="6" creationId="{637E159C-9ACF-48AE-927A-D5FB13695C7F}"/>
          </ac:spMkLst>
        </pc:spChg>
      </pc:sldChg>
      <pc:sldChg chg="modNotesTx">
        <pc:chgData name="Batuhan Yildiz" userId="90f344fc-4655-4923-aeaf-697bba59c1a7" providerId="ADAL" clId="{02870C02-BDE2-4298-BBAE-AA8CA1DE1162}" dt="2020-04-30T17:35:17.872" v="29"/>
        <pc:sldMkLst>
          <pc:docMk/>
          <pc:sldMk cId="2147177822" sldId="568"/>
        </pc:sldMkLst>
      </pc:sldChg>
      <pc:sldChg chg="modSp">
        <pc:chgData name="Batuhan Yildiz" userId="90f344fc-4655-4923-aeaf-697bba59c1a7" providerId="ADAL" clId="{02870C02-BDE2-4298-BBAE-AA8CA1DE1162}" dt="2020-04-30T18:55:08.442" v="53" actId="14100"/>
        <pc:sldMkLst>
          <pc:docMk/>
          <pc:sldMk cId="2346840044" sldId="570"/>
        </pc:sldMkLst>
        <pc:graphicFrameChg chg="mod">
          <ac:chgData name="Batuhan Yildiz" userId="90f344fc-4655-4923-aeaf-697bba59c1a7" providerId="ADAL" clId="{02870C02-BDE2-4298-BBAE-AA8CA1DE1162}" dt="2020-04-30T18:55:08.442" v="53" actId="14100"/>
          <ac:graphicFrameMkLst>
            <pc:docMk/>
            <pc:sldMk cId="2346840044" sldId="570"/>
            <ac:graphicFrameMk id="3" creationId="{9484E1FE-7534-495E-863C-657A46F5E628}"/>
          </ac:graphicFrameMkLst>
        </pc:graphicFrameChg>
      </pc:sldChg>
      <pc:sldChg chg="delSp modSp mod">
        <pc:chgData name="Batuhan Yildiz" userId="90f344fc-4655-4923-aeaf-697bba59c1a7" providerId="ADAL" clId="{02870C02-BDE2-4298-BBAE-AA8CA1DE1162}" dt="2020-04-30T19:05:14.417" v="111" actId="947"/>
        <pc:sldMkLst>
          <pc:docMk/>
          <pc:sldMk cId="4248838292" sldId="573"/>
        </pc:sldMkLst>
        <pc:spChg chg="del">
          <ac:chgData name="Batuhan Yildiz" userId="90f344fc-4655-4923-aeaf-697bba59c1a7" providerId="ADAL" clId="{02870C02-BDE2-4298-BBAE-AA8CA1DE1162}" dt="2020-04-30T18:55:38.010" v="58" actId="478"/>
          <ac:spMkLst>
            <pc:docMk/>
            <pc:sldMk cId="4248838292" sldId="573"/>
            <ac:spMk id="4" creationId="{F3616A99-090F-45E1-9334-58D58B148205}"/>
          </ac:spMkLst>
        </pc:spChg>
        <pc:spChg chg="mod">
          <ac:chgData name="Batuhan Yildiz" userId="90f344fc-4655-4923-aeaf-697bba59c1a7" providerId="ADAL" clId="{02870C02-BDE2-4298-BBAE-AA8CA1DE1162}" dt="2020-04-30T19:05:14.392" v="106" actId="947"/>
          <ac:spMkLst>
            <pc:docMk/>
            <pc:sldMk cId="4248838292" sldId="573"/>
            <ac:spMk id="14" creationId="{D918E1B1-0EC5-4055-9013-D16D819A5607}"/>
          </ac:spMkLst>
        </pc:spChg>
        <pc:spChg chg="mod">
          <ac:chgData name="Batuhan Yildiz" userId="90f344fc-4655-4923-aeaf-697bba59c1a7" providerId="ADAL" clId="{02870C02-BDE2-4298-BBAE-AA8CA1DE1162}" dt="2020-04-30T19:05:14.397" v="107" actId="947"/>
          <ac:spMkLst>
            <pc:docMk/>
            <pc:sldMk cId="4248838292" sldId="573"/>
            <ac:spMk id="15" creationId="{5BE74010-EABC-45B1-B407-1562512BD5D0}"/>
          </ac:spMkLst>
        </pc:spChg>
        <pc:spChg chg="mod">
          <ac:chgData name="Batuhan Yildiz" userId="90f344fc-4655-4923-aeaf-697bba59c1a7" providerId="ADAL" clId="{02870C02-BDE2-4298-BBAE-AA8CA1DE1162}" dt="2020-04-30T19:05:14.399" v="108" actId="947"/>
          <ac:spMkLst>
            <pc:docMk/>
            <pc:sldMk cId="4248838292" sldId="573"/>
            <ac:spMk id="16" creationId="{31C3A9BD-6141-4CA1-A10C-D921EF05EB7C}"/>
          </ac:spMkLst>
        </pc:spChg>
        <pc:spChg chg="mod">
          <ac:chgData name="Batuhan Yildiz" userId="90f344fc-4655-4923-aeaf-697bba59c1a7" providerId="ADAL" clId="{02870C02-BDE2-4298-BBAE-AA8CA1DE1162}" dt="2020-04-30T19:05:14.407" v="109" actId="947"/>
          <ac:spMkLst>
            <pc:docMk/>
            <pc:sldMk cId="4248838292" sldId="573"/>
            <ac:spMk id="17" creationId="{751A89A7-0D72-4E36-8B29-8C13965E436C}"/>
          </ac:spMkLst>
        </pc:spChg>
        <pc:spChg chg="mod">
          <ac:chgData name="Batuhan Yildiz" userId="90f344fc-4655-4923-aeaf-697bba59c1a7" providerId="ADAL" clId="{02870C02-BDE2-4298-BBAE-AA8CA1DE1162}" dt="2020-04-30T19:05:14.410" v="110" actId="947"/>
          <ac:spMkLst>
            <pc:docMk/>
            <pc:sldMk cId="4248838292" sldId="573"/>
            <ac:spMk id="18" creationId="{F40EC51A-AF4F-49EC-A2D3-3E3FEB002D2B}"/>
          </ac:spMkLst>
        </pc:spChg>
        <pc:spChg chg="mod">
          <ac:chgData name="Batuhan Yildiz" userId="90f344fc-4655-4923-aeaf-697bba59c1a7" providerId="ADAL" clId="{02870C02-BDE2-4298-BBAE-AA8CA1DE1162}" dt="2020-04-30T19:05:14.417" v="111" actId="947"/>
          <ac:spMkLst>
            <pc:docMk/>
            <pc:sldMk cId="4248838292" sldId="573"/>
            <ac:spMk id="19" creationId="{FC04C540-6242-423D-BD85-A8A6A734ECD9}"/>
          </ac:spMkLst>
        </pc:spChg>
        <pc:grpChg chg="mod">
          <ac:chgData name="Batuhan Yildiz" userId="90f344fc-4655-4923-aeaf-697bba59c1a7" providerId="ADAL" clId="{02870C02-BDE2-4298-BBAE-AA8CA1DE1162}" dt="2020-04-30T18:55:32.955" v="57" actId="14100"/>
          <ac:grpSpMkLst>
            <pc:docMk/>
            <pc:sldMk cId="4248838292" sldId="573"/>
            <ac:grpSpMk id="7" creationId="{C92F3EFE-D088-4F66-A596-FAEED68AEF84}"/>
          </ac:grpSpMkLst>
        </pc:grpChg>
        <pc:grpChg chg="mod">
          <ac:chgData name="Batuhan Yildiz" userId="90f344fc-4655-4923-aeaf-697bba59c1a7" providerId="ADAL" clId="{02870C02-BDE2-4298-BBAE-AA8CA1DE1162}" dt="2020-04-30T18:55:32.955" v="57" actId="14100"/>
          <ac:grpSpMkLst>
            <pc:docMk/>
            <pc:sldMk cId="4248838292" sldId="573"/>
            <ac:grpSpMk id="10" creationId="{ACF2D095-78A4-4AB5-AA55-D37C468E4080}"/>
          </ac:grpSpMkLst>
        </pc:grpChg>
        <pc:grpChg chg="mod">
          <ac:chgData name="Batuhan Yildiz" userId="90f344fc-4655-4923-aeaf-697bba59c1a7" providerId="ADAL" clId="{02870C02-BDE2-4298-BBAE-AA8CA1DE1162}" dt="2020-04-30T18:55:32.955" v="57" actId="14100"/>
          <ac:grpSpMkLst>
            <pc:docMk/>
            <pc:sldMk cId="4248838292" sldId="573"/>
            <ac:grpSpMk id="13" creationId="{3E637152-E974-4725-A09D-FC299BCBD715}"/>
          </ac:grpSpMkLst>
        </pc:grpChg>
      </pc:sldChg>
      <pc:sldChg chg="modNotesTx">
        <pc:chgData name="Batuhan Yildiz" userId="90f344fc-4655-4923-aeaf-697bba59c1a7" providerId="ADAL" clId="{02870C02-BDE2-4298-BBAE-AA8CA1DE1162}" dt="2020-04-30T17:35:54.559" v="33" actId="20577"/>
        <pc:sldMkLst>
          <pc:docMk/>
          <pc:sldMk cId="1487953619" sldId="574"/>
        </pc:sldMkLst>
      </pc:sldChg>
      <pc:sldChg chg="modSp">
        <pc:chgData name="Batuhan Yildiz" userId="90f344fc-4655-4923-aeaf-697bba59c1a7" providerId="ADAL" clId="{02870C02-BDE2-4298-BBAE-AA8CA1DE1162}" dt="2020-04-30T19:06:34.229" v="126" actId="14100"/>
        <pc:sldMkLst>
          <pc:docMk/>
          <pc:sldMk cId="4206133277" sldId="577"/>
        </pc:sldMkLst>
        <pc:graphicFrameChg chg="mod">
          <ac:chgData name="Batuhan Yildiz" userId="90f344fc-4655-4923-aeaf-697bba59c1a7" providerId="ADAL" clId="{02870C02-BDE2-4298-BBAE-AA8CA1DE1162}" dt="2020-04-30T19:06:34.229" v="126" actId="14100"/>
          <ac:graphicFrameMkLst>
            <pc:docMk/>
            <pc:sldMk cId="4206133277" sldId="577"/>
            <ac:graphicFrameMk id="3" creationId="{9484E1FE-7534-495E-863C-657A46F5E628}"/>
          </ac:graphicFrameMkLst>
        </pc:graphicFrameChg>
      </pc:sldChg>
      <pc:sldChg chg="modSp mod modNotesTx">
        <pc:chgData name="Batuhan Yildiz" userId="90f344fc-4655-4923-aeaf-697bba59c1a7" providerId="ADAL" clId="{02870C02-BDE2-4298-BBAE-AA8CA1DE1162}" dt="2020-04-30T17:36:42.429" v="45" actId="20577"/>
        <pc:sldMkLst>
          <pc:docMk/>
          <pc:sldMk cId="159196581" sldId="581"/>
        </pc:sldMkLst>
        <pc:spChg chg="mod">
          <ac:chgData name="Batuhan Yildiz" userId="90f344fc-4655-4923-aeaf-697bba59c1a7" providerId="ADAL" clId="{02870C02-BDE2-4298-BBAE-AA8CA1DE1162}" dt="2020-04-30T17:36:11.221" v="37" actId="20577"/>
          <ac:spMkLst>
            <pc:docMk/>
            <pc:sldMk cId="159196581" sldId="581"/>
            <ac:spMk id="3" creationId="{8F64A22E-2B43-4FC6-AF08-0CDB3F9E9269}"/>
          </ac:spMkLst>
        </pc:spChg>
        <pc:spChg chg="mod">
          <ac:chgData name="Batuhan Yildiz" userId="90f344fc-4655-4923-aeaf-697bba59c1a7" providerId="ADAL" clId="{02870C02-BDE2-4298-BBAE-AA8CA1DE1162}" dt="2020-04-30T17:36:32.563" v="42" actId="15"/>
          <ac:spMkLst>
            <pc:docMk/>
            <pc:sldMk cId="159196581" sldId="581"/>
            <ac:spMk id="6" creationId="{637E159C-9ACF-48AE-927A-D5FB13695C7F}"/>
          </ac:spMkLst>
        </pc:spChg>
      </pc:sldChg>
      <pc:sldChg chg="modSp">
        <pc:chgData name="Batuhan Yildiz" userId="90f344fc-4655-4923-aeaf-697bba59c1a7" providerId="ADAL" clId="{02870C02-BDE2-4298-BBAE-AA8CA1DE1162}" dt="2020-04-30T19:06:58.661" v="131" actId="14100"/>
        <pc:sldMkLst>
          <pc:docMk/>
          <pc:sldMk cId="2092846825" sldId="584"/>
        </pc:sldMkLst>
        <pc:graphicFrameChg chg="mod">
          <ac:chgData name="Batuhan Yildiz" userId="90f344fc-4655-4923-aeaf-697bba59c1a7" providerId="ADAL" clId="{02870C02-BDE2-4298-BBAE-AA8CA1DE1162}" dt="2020-04-30T19:06:58.661" v="131" actId="14100"/>
          <ac:graphicFrameMkLst>
            <pc:docMk/>
            <pc:sldMk cId="2092846825" sldId="584"/>
            <ac:graphicFrameMk id="3" creationId="{9484E1FE-7534-495E-863C-657A46F5E628}"/>
          </ac:graphicFrameMkLst>
        </pc:graphicFrameChg>
      </pc:sldChg>
      <pc:sldChg chg="delSp mod">
        <pc:chgData name="Batuhan Yildiz" userId="90f344fc-4655-4923-aeaf-697bba59c1a7" providerId="ADAL" clId="{02870C02-BDE2-4298-BBAE-AA8CA1DE1162}" dt="2020-04-30T18:53:59.608" v="47" actId="478"/>
        <pc:sldMkLst>
          <pc:docMk/>
          <pc:sldMk cId="1245675780" sldId="615"/>
        </pc:sldMkLst>
        <pc:spChg chg="del">
          <ac:chgData name="Batuhan Yildiz" userId="90f344fc-4655-4923-aeaf-697bba59c1a7" providerId="ADAL" clId="{02870C02-BDE2-4298-BBAE-AA8CA1DE1162}" dt="2020-04-30T18:53:59.608" v="47" actId="478"/>
          <ac:spMkLst>
            <pc:docMk/>
            <pc:sldMk cId="1245675780" sldId="615"/>
            <ac:spMk id="4" creationId="{F3616A99-090F-45E1-9334-58D58B148205}"/>
          </ac:spMkLst>
        </pc:spChg>
      </pc:sldChg>
      <pc:sldChg chg="delSp modSp mod">
        <pc:chgData name="Batuhan Yildiz" userId="90f344fc-4655-4923-aeaf-697bba59c1a7" providerId="ADAL" clId="{02870C02-BDE2-4298-BBAE-AA8CA1DE1162}" dt="2020-04-30T18:54:24.399" v="50" actId="478"/>
        <pc:sldMkLst>
          <pc:docMk/>
          <pc:sldMk cId="32275417" sldId="618"/>
        </pc:sldMkLst>
        <pc:spChg chg="del">
          <ac:chgData name="Batuhan Yildiz" userId="90f344fc-4655-4923-aeaf-697bba59c1a7" providerId="ADAL" clId="{02870C02-BDE2-4298-BBAE-AA8CA1DE1162}" dt="2020-04-30T18:54:24.399" v="50" actId="478"/>
          <ac:spMkLst>
            <pc:docMk/>
            <pc:sldMk cId="32275417" sldId="618"/>
            <ac:spMk id="4" creationId="{F3616A99-090F-45E1-9334-58D58B148205}"/>
          </ac:spMkLst>
        </pc:spChg>
        <pc:graphicFrameChg chg="mod">
          <ac:chgData name="Batuhan Yildiz" userId="90f344fc-4655-4923-aeaf-697bba59c1a7" providerId="ADAL" clId="{02870C02-BDE2-4298-BBAE-AA8CA1DE1162}" dt="2020-04-30T18:54:19.456" v="49" actId="14100"/>
          <ac:graphicFrameMkLst>
            <pc:docMk/>
            <pc:sldMk cId="32275417" sldId="618"/>
            <ac:graphicFrameMk id="5" creationId="{3ED871D8-C51E-45A6-9123-272AA70F089C}"/>
          </ac:graphicFrameMkLst>
        </pc:graphicFrameChg>
      </pc:sldChg>
      <pc:sldChg chg="modSp">
        <pc:chgData name="Batuhan Yildiz" userId="90f344fc-4655-4923-aeaf-697bba59c1a7" providerId="ADAL" clId="{02870C02-BDE2-4298-BBAE-AA8CA1DE1162}" dt="2020-04-30T18:54:52.815" v="52" actId="14100"/>
        <pc:sldMkLst>
          <pc:docMk/>
          <pc:sldMk cId="1913778146" sldId="619"/>
        </pc:sldMkLst>
        <pc:graphicFrameChg chg="mod">
          <ac:chgData name="Batuhan Yildiz" userId="90f344fc-4655-4923-aeaf-697bba59c1a7" providerId="ADAL" clId="{02870C02-BDE2-4298-BBAE-AA8CA1DE1162}" dt="2020-04-30T18:54:52.815" v="52" actId="14100"/>
          <ac:graphicFrameMkLst>
            <pc:docMk/>
            <pc:sldMk cId="1913778146" sldId="619"/>
            <ac:graphicFrameMk id="9" creationId="{FAC3A7AF-68B2-40C4-9219-29AFB53C5649}"/>
          </ac:graphicFrameMkLst>
        </pc:graphicFrameChg>
      </pc:sldChg>
      <pc:sldChg chg="delSp mod">
        <pc:chgData name="Batuhan Yildiz" userId="90f344fc-4655-4923-aeaf-697bba59c1a7" providerId="ADAL" clId="{02870C02-BDE2-4298-BBAE-AA8CA1DE1162}" dt="2020-04-30T18:57:23.912" v="64" actId="478"/>
        <pc:sldMkLst>
          <pc:docMk/>
          <pc:sldMk cId="2811608349" sldId="626"/>
        </pc:sldMkLst>
        <pc:spChg chg="del">
          <ac:chgData name="Batuhan Yildiz" userId="90f344fc-4655-4923-aeaf-697bba59c1a7" providerId="ADAL" clId="{02870C02-BDE2-4298-BBAE-AA8CA1DE1162}" dt="2020-04-30T18:57:23.912" v="64" actId="478"/>
          <ac:spMkLst>
            <pc:docMk/>
            <pc:sldMk cId="2811608349" sldId="626"/>
            <ac:spMk id="3" creationId="{7EC492B1-CA18-4AEC-B486-A1D60C0F6202}"/>
          </ac:spMkLst>
        </pc:spChg>
      </pc:sldChg>
      <pc:sldChg chg="delSp modSp mod">
        <pc:chgData name="Batuhan Yildiz" userId="90f344fc-4655-4923-aeaf-697bba59c1a7" providerId="ADAL" clId="{02870C02-BDE2-4298-BBAE-AA8CA1DE1162}" dt="2020-04-30T19:05:43.222" v="121" actId="947"/>
        <pc:sldMkLst>
          <pc:docMk/>
          <pc:sldMk cId="2796710665" sldId="630"/>
        </pc:sldMkLst>
        <pc:spChg chg="del">
          <ac:chgData name="Batuhan Yildiz" userId="90f344fc-4655-4923-aeaf-697bba59c1a7" providerId="ADAL" clId="{02870C02-BDE2-4298-BBAE-AA8CA1DE1162}" dt="2020-04-30T18:58:00.647" v="65" actId="478"/>
          <ac:spMkLst>
            <pc:docMk/>
            <pc:sldMk cId="2796710665" sldId="630"/>
            <ac:spMk id="3" creationId="{7EC492B1-CA18-4AEC-B486-A1D60C0F6202}"/>
          </ac:spMkLst>
        </pc:spChg>
        <pc:spChg chg="mod">
          <ac:chgData name="Batuhan Yildiz" userId="90f344fc-4655-4923-aeaf-697bba59c1a7" providerId="ADAL" clId="{02870C02-BDE2-4298-BBAE-AA8CA1DE1162}" dt="2020-04-30T19:05:43.211" v="118" actId="947"/>
          <ac:spMkLst>
            <pc:docMk/>
            <pc:sldMk cId="2796710665" sldId="630"/>
            <ac:spMk id="10" creationId="{4E9DED15-C0F3-4250-B8FB-204A32770BC8}"/>
          </ac:spMkLst>
        </pc:spChg>
        <pc:spChg chg="mod">
          <ac:chgData name="Batuhan Yildiz" userId="90f344fc-4655-4923-aeaf-697bba59c1a7" providerId="ADAL" clId="{02870C02-BDE2-4298-BBAE-AA8CA1DE1162}" dt="2020-04-30T19:05:43.216" v="119" actId="947"/>
          <ac:spMkLst>
            <pc:docMk/>
            <pc:sldMk cId="2796710665" sldId="630"/>
            <ac:spMk id="11" creationId="{2EC9F3C0-7727-48A5-B771-C3568D3DF9E5}"/>
          </ac:spMkLst>
        </pc:spChg>
        <pc:spChg chg="mod">
          <ac:chgData name="Batuhan Yildiz" userId="90f344fc-4655-4923-aeaf-697bba59c1a7" providerId="ADAL" clId="{02870C02-BDE2-4298-BBAE-AA8CA1DE1162}" dt="2020-04-30T19:05:43.218" v="120" actId="947"/>
          <ac:spMkLst>
            <pc:docMk/>
            <pc:sldMk cId="2796710665" sldId="630"/>
            <ac:spMk id="12" creationId="{2D65DC8A-90AA-4E9B-BA5C-A64C5D8DFBBC}"/>
          </ac:spMkLst>
        </pc:spChg>
        <pc:spChg chg="mod">
          <ac:chgData name="Batuhan Yildiz" userId="90f344fc-4655-4923-aeaf-697bba59c1a7" providerId="ADAL" clId="{02870C02-BDE2-4298-BBAE-AA8CA1DE1162}" dt="2020-04-30T19:05:43.222" v="121" actId="947"/>
          <ac:spMkLst>
            <pc:docMk/>
            <pc:sldMk cId="2796710665" sldId="630"/>
            <ac:spMk id="13" creationId="{92BAFC1C-F5EC-47C2-BC22-20C73EF6DC87}"/>
          </ac:spMkLst>
        </pc:spChg>
        <pc:grpChg chg="mod">
          <ac:chgData name="Batuhan Yildiz" userId="90f344fc-4655-4923-aeaf-697bba59c1a7" providerId="ADAL" clId="{02870C02-BDE2-4298-BBAE-AA8CA1DE1162}" dt="2020-04-30T18:58:30.613" v="68" actId="1076"/>
          <ac:grpSpMkLst>
            <pc:docMk/>
            <pc:sldMk cId="2796710665" sldId="630"/>
            <ac:grpSpMk id="6" creationId="{E1EBDFD6-59BD-40C1-AABB-3F2B3E09D2B2}"/>
          </ac:grpSpMkLst>
        </pc:grpChg>
        <pc:grpChg chg="mod">
          <ac:chgData name="Batuhan Yildiz" userId="90f344fc-4655-4923-aeaf-697bba59c1a7" providerId="ADAL" clId="{02870C02-BDE2-4298-BBAE-AA8CA1DE1162}" dt="2020-04-30T18:58:30.613" v="68" actId="1076"/>
          <ac:grpSpMkLst>
            <pc:docMk/>
            <pc:sldMk cId="2796710665" sldId="630"/>
            <ac:grpSpMk id="9" creationId="{F2852587-71E5-4FB9-A506-8FE3CB681820}"/>
          </ac:grpSpMkLst>
        </pc:grpChg>
      </pc:sldChg>
      <pc:sldChg chg="delSp modSp mod">
        <pc:chgData name="Batuhan Yildiz" userId="90f344fc-4655-4923-aeaf-697bba59c1a7" providerId="ADAL" clId="{02870C02-BDE2-4298-BBAE-AA8CA1DE1162}" dt="2020-04-30T19:06:05.360" v="125"/>
        <pc:sldMkLst>
          <pc:docMk/>
          <pc:sldMk cId="3917194454" sldId="631"/>
        </pc:sldMkLst>
        <pc:spChg chg="del">
          <ac:chgData name="Batuhan Yildiz" userId="90f344fc-4655-4923-aeaf-697bba59c1a7" providerId="ADAL" clId="{02870C02-BDE2-4298-BBAE-AA8CA1DE1162}" dt="2020-04-30T19:00:23.753" v="78" actId="478"/>
          <ac:spMkLst>
            <pc:docMk/>
            <pc:sldMk cId="3917194454" sldId="631"/>
            <ac:spMk id="3" creationId="{7EC492B1-CA18-4AEC-B486-A1D60C0F6202}"/>
          </ac:spMkLst>
        </pc:spChg>
        <pc:graphicFrameChg chg="mod">
          <ac:chgData name="Batuhan Yildiz" userId="90f344fc-4655-4923-aeaf-697bba59c1a7" providerId="ADAL" clId="{02870C02-BDE2-4298-BBAE-AA8CA1DE1162}" dt="2020-04-30T19:06:05.360" v="125"/>
          <ac:graphicFrameMkLst>
            <pc:docMk/>
            <pc:sldMk cId="3917194454" sldId="631"/>
            <ac:graphicFrameMk id="4" creationId="{49658F28-6844-436F-9F9D-BF147B70B8B8}"/>
          </ac:graphicFrameMkLst>
        </pc:graphicFrameChg>
      </pc:sldChg>
      <pc:sldChg chg="modSp">
        <pc:chgData name="Batuhan Yildiz" userId="90f344fc-4655-4923-aeaf-697bba59c1a7" providerId="ADAL" clId="{02870C02-BDE2-4298-BBAE-AA8CA1DE1162}" dt="2020-04-30T19:00:34.792" v="79" actId="14100"/>
        <pc:sldMkLst>
          <pc:docMk/>
          <pc:sldMk cId="930357219" sldId="632"/>
        </pc:sldMkLst>
        <pc:graphicFrameChg chg="mod">
          <ac:chgData name="Batuhan Yildiz" userId="90f344fc-4655-4923-aeaf-697bba59c1a7" providerId="ADAL" clId="{02870C02-BDE2-4298-BBAE-AA8CA1DE1162}" dt="2020-04-30T19:00:34.792" v="79" actId="14100"/>
          <ac:graphicFrameMkLst>
            <pc:docMk/>
            <pc:sldMk cId="930357219" sldId="632"/>
            <ac:graphicFrameMk id="4" creationId="{0F433426-1A58-49CD-AA31-00AD90106957}"/>
          </ac:graphicFrameMkLst>
        </pc:graphicFrameChg>
      </pc:sldChg>
      <pc:sldChg chg="delSp modSp mod">
        <pc:chgData name="Batuhan Yildiz" userId="90f344fc-4655-4923-aeaf-697bba59c1a7" providerId="ADAL" clId="{02870C02-BDE2-4298-BBAE-AA8CA1DE1162}" dt="2020-04-30T19:04:02.951" v="85" actId="207"/>
        <pc:sldMkLst>
          <pc:docMk/>
          <pc:sldMk cId="2812505108" sldId="633"/>
        </pc:sldMkLst>
        <pc:spChg chg="del">
          <ac:chgData name="Batuhan Yildiz" userId="90f344fc-4655-4923-aeaf-697bba59c1a7" providerId="ADAL" clId="{02870C02-BDE2-4298-BBAE-AA8CA1DE1162}" dt="2020-04-30T19:03:21.939" v="80" actId="478"/>
          <ac:spMkLst>
            <pc:docMk/>
            <pc:sldMk cId="2812505108" sldId="633"/>
            <ac:spMk id="3" creationId="{7EC492B1-CA18-4AEC-B486-A1D60C0F6202}"/>
          </ac:spMkLst>
        </pc:spChg>
        <pc:graphicFrameChg chg="mod">
          <ac:chgData name="Batuhan Yildiz" userId="90f344fc-4655-4923-aeaf-697bba59c1a7" providerId="ADAL" clId="{02870C02-BDE2-4298-BBAE-AA8CA1DE1162}" dt="2020-04-30T19:04:02.951" v="85" actId="207"/>
          <ac:graphicFrameMkLst>
            <pc:docMk/>
            <pc:sldMk cId="2812505108" sldId="633"/>
            <ac:graphicFrameMk id="4" creationId="{F7D47CF4-BC42-4583-BB8C-CC9573DA95F8}"/>
          </ac:graphicFrameMkLst>
        </pc:graphicFrameChg>
      </pc:sldChg>
      <pc:sldChg chg="modNotesTx">
        <pc:chgData name="Batuhan Yildiz" userId="90f344fc-4655-4923-aeaf-697bba59c1a7" providerId="ADAL" clId="{02870C02-BDE2-4298-BBAE-AA8CA1DE1162}" dt="2020-04-30T17:35:36.700" v="30"/>
        <pc:sldMkLst>
          <pc:docMk/>
          <pc:sldMk cId="818007811" sldId="635"/>
        </pc:sldMkLst>
      </pc:sldChg>
      <pc:sldChg chg="modNotesTx">
        <pc:chgData name="Batuhan Yildiz" userId="90f344fc-4655-4923-aeaf-697bba59c1a7" providerId="ADAL" clId="{02870C02-BDE2-4298-BBAE-AA8CA1DE1162}" dt="2020-04-30T17:34:06.225" v="12"/>
        <pc:sldMkLst>
          <pc:docMk/>
          <pc:sldMk cId="1285512603" sldId="639"/>
        </pc:sldMkLst>
      </pc:sldChg>
      <pc:sldChg chg="modSp add mod modNotesTx">
        <pc:chgData name="Batuhan Yildiz" userId="90f344fc-4655-4923-aeaf-697bba59c1a7" providerId="ADAL" clId="{02870C02-BDE2-4298-BBAE-AA8CA1DE1162}" dt="2020-04-30T17:35:03.968" v="28" actId="20577"/>
        <pc:sldMkLst>
          <pc:docMk/>
          <pc:sldMk cId="2167070397" sldId="640"/>
        </pc:sldMkLst>
        <pc:spChg chg="mod">
          <ac:chgData name="Batuhan Yildiz" userId="90f344fc-4655-4923-aeaf-697bba59c1a7" providerId="ADAL" clId="{02870C02-BDE2-4298-BBAE-AA8CA1DE1162}" dt="2020-04-30T17:34:48.799" v="25" actId="15"/>
          <ac:spMkLst>
            <pc:docMk/>
            <pc:sldMk cId="2167070397" sldId="640"/>
            <ac:spMk id="6" creationId="{637E159C-9ACF-48AE-927A-D5FB13695C7F}"/>
          </ac:spMkLst>
        </pc:spChg>
      </pc:sldChg>
    </pc:docChg>
  </pc:docChgLst>
  <pc:docChgLst>
    <pc:chgData name="Renata Festa" userId="6f22df47-533b-4c2a-a3c1-7f9ad1d63e10" providerId="ADAL" clId="{9DC626FE-C7F5-4FBF-A904-9A2AB758E0DD}"/>
    <pc:docChg chg="undo custSel mod addSld delSld modSld modSection">
      <pc:chgData name="Renata Festa" userId="6f22df47-533b-4c2a-a3c1-7f9ad1d63e10" providerId="ADAL" clId="{9DC626FE-C7F5-4FBF-A904-9A2AB758E0DD}" dt="2020-03-25T17:02:41.648" v="785"/>
      <pc:docMkLst>
        <pc:docMk/>
      </pc:docMkLst>
      <pc:sldChg chg="addSp delSp modSp mod modAnim">
        <pc:chgData name="Renata Festa" userId="6f22df47-533b-4c2a-a3c1-7f9ad1d63e10" providerId="ADAL" clId="{9DC626FE-C7F5-4FBF-A904-9A2AB758E0DD}" dt="2020-03-24T20:42:58.833" v="91" actId="404"/>
        <pc:sldMkLst>
          <pc:docMk/>
          <pc:sldMk cId="3235270007" sldId="257"/>
        </pc:sldMkLst>
        <pc:spChg chg="mod">
          <ac:chgData name="Renata Festa" userId="6f22df47-533b-4c2a-a3c1-7f9ad1d63e10" providerId="ADAL" clId="{9DC626FE-C7F5-4FBF-A904-9A2AB758E0DD}" dt="2020-03-24T20:34:51.943" v="5"/>
          <ac:spMkLst>
            <pc:docMk/>
            <pc:sldMk cId="3235270007" sldId="257"/>
            <ac:spMk id="2" creationId="{EB67312A-9819-43C6-8D84-D9136E6CFFCC}"/>
          </ac:spMkLst>
        </pc:spChg>
        <pc:spChg chg="del">
          <ac:chgData name="Renata Festa" userId="6f22df47-533b-4c2a-a3c1-7f9ad1d63e10" providerId="ADAL" clId="{9DC626FE-C7F5-4FBF-A904-9A2AB758E0DD}" dt="2020-03-24T20:34:54.302" v="6" actId="478"/>
          <ac:spMkLst>
            <pc:docMk/>
            <pc:sldMk cId="3235270007" sldId="257"/>
            <ac:spMk id="3" creationId="{F35E8CBB-5A7D-4DEF-BAF7-8DD5D042F9E0}"/>
          </ac:spMkLst>
        </pc:spChg>
        <pc:spChg chg="del mod">
          <ac:chgData name="Renata Festa" userId="6f22df47-533b-4c2a-a3c1-7f9ad1d63e10" providerId="ADAL" clId="{9DC626FE-C7F5-4FBF-A904-9A2AB758E0DD}" dt="2020-03-24T20:35:36.253" v="13" actId="12084"/>
          <ac:spMkLst>
            <pc:docMk/>
            <pc:sldMk cId="3235270007" sldId="257"/>
            <ac:spMk id="4" creationId="{F3616A99-090F-45E1-9334-58D58B148205}"/>
          </ac:spMkLst>
        </pc:spChg>
        <pc:graphicFrameChg chg="add mod">
          <ac:chgData name="Renata Festa" userId="6f22df47-533b-4c2a-a3c1-7f9ad1d63e10" providerId="ADAL" clId="{9DC626FE-C7F5-4FBF-A904-9A2AB758E0DD}" dt="2020-03-24T20:42:58.833" v="91" actId="404"/>
          <ac:graphicFrameMkLst>
            <pc:docMk/>
            <pc:sldMk cId="3235270007" sldId="257"/>
            <ac:graphicFrameMk id="5" creationId="{44F13A54-B944-40A1-8689-3446C1EFC78F}"/>
          </ac:graphicFrameMkLst>
        </pc:graphicFrameChg>
        <pc:picChg chg="add mod">
          <ac:chgData name="Renata Festa" userId="6f22df47-533b-4c2a-a3c1-7f9ad1d63e10" providerId="ADAL" clId="{9DC626FE-C7F5-4FBF-A904-9A2AB758E0DD}" dt="2020-03-24T20:36:06.798" v="21" actId="1076"/>
          <ac:picMkLst>
            <pc:docMk/>
            <pc:sldMk cId="3235270007" sldId="257"/>
            <ac:picMk id="6" creationId="{6B25E94A-60E1-4DC8-BCE5-92E255C1B6F8}"/>
          </ac:picMkLst>
        </pc:picChg>
      </pc:sldChg>
      <pc:sldChg chg="addSp">
        <pc:chgData name="Renata Festa" userId="6f22df47-533b-4c2a-a3c1-7f9ad1d63e10" providerId="ADAL" clId="{9DC626FE-C7F5-4FBF-A904-9A2AB758E0DD}" dt="2020-03-24T20:33:33.188" v="0"/>
        <pc:sldMkLst>
          <pc:docMk/>
          <pc:sldMk cId="1196121053" sldId="260"/>
        </pc:sldMkLst>
        <pc:spChg chg="add">
          <ac:chgData name="Renata Festa" userId="6f22df47-533b-4c2a-a3c1-7f9ad1d63e10" providerId="ADAL" clId="{9DC626FE-C7F5-4FBF-A904-9A2AB758E0DD}" dt="2020-03-24T20:33:33.188" v="0"/>
          <ac:spMkLst>
            <pc:docMk/>
            <pc:sldMk cId="1196121053" sldId="260"/>
            <ac:spMk id="16" creationId="{38E8DE86-C384-4C2C-ACD2-51A4EB8221F9}"/>
          </ac:spMkLst>
        </pc:spChg>
        <pc:grpChg chg="add">
          <ac:chgData name="Renata Festa" userId="6f22df47-533b-4c2a-a3c1-7f9ad1d63e10" providerId="ADAL" clId="{9DC626FE-C7F5-4FBF-A904-9A2AB758E0DD}" dt="2020-03-24T20:33:33.188" v="0"/>
          <ac:grpSpMkLst>
            <pc:docMk/>
            <pc:sldMk cId="1196121053" sldId="260"/>
            <ac:grpSpMk id="7" creationId="{5CCEECEC-D86C-4E66-801B-5AC85A28E5E7}"/>
          </ac:grpSpMkLst>
        </pc:grpChg>
      </pc:sldChg>
      <pc:sldChg chg="modSp add mod">
        <pc:chgData name="Renata Festa" userId="6f22df47-533b-4c2a-a3c1-7f9ad1d63e10" providerId="ADAL" clId="{9DC626FE-C7F5-4FBF-A904-9A2AB758E0DD}" dt="2020-03-25T11:59:51.136" v="219" actId="20577"/>
        <pc:sldMkLst>
          <pc:docMk/>
          <pc:sldMk cId="3841611615" sldId="531"/>
        </pc:sldMkLst>
        <pc:spChg chg="mod">
          <ac:chgData name="Renata Festa" userId="6f22df47-533b-4c2a-a3c1-7f9ad1d63e10" providerId="ADAL" clId="{9DC626FE-C7F5-4FBF-A904-9A2AB758E0DD}" dt="2020-03-25T11:59:42.332" v="215" actId="6549"/>
          <ac:spMkLst>
            <pc:docMk/>
            <pc:sldMk cId="3841611615" sldId="531"/>
            <ac:spMk id="3" creationId="{8F64A22E-2B43-4FC6-AF08-0CDB3F9E9269}"/>
          </ac:spMkLst>
        </pc:spChg>
        <pc:spChg chg="mod">
          <ac:chgData name="Renata Festa" userId="6f22df47-533b-4c2a-a3c1-7f9ad1d63e10" providerId="ADAL" clId="{9DC626FE-C7F5-4FBF-A904-9A2AB758E0DD}" dt="2020-03-25T11:59:51.136" v="219" actId="20577"/>
          <ac:spMkLst>
            <pc:docMk/>
            <pc:sldMk cId="3841611615" sldId="531"/>
            <ac:spMk id="6" creationId="{637E159C-9ACF-48AE-927A-D5FB13695C7F}"/>
          </ac:spMkLst>
        </pc:spChg>
      </pc:sldChg>
      <pc:sldChg chg="del">
        <pc:chgData name="Renata Festa" userId="6f22df47-533b-4c2a-a3c1-7f9ad1d63e10" providerId="ADAL" clId="{9DC626FE-C7F5-4FBF-A904-9A2AB758E0DD}" dt="2020-03-25T11:59:28.963" v="209" actId="2696"/>
        <pc:sldMkLst>
          <pc:docMk/>
          <pc:sldMk cId="4267675391" sldId="531"/>
        </pc:sldMkLst>
      </pc:sldChg>
      <pc:sldChg chg="modSp add del mod">
        <pc:chgData name="Renata Festa" userId="6f22df47-533b-4c2a-a3c1-7f9ad1d63e10" providerId="ADAL" clId="{9DC626FE-C7F5-4FBF-A904-9A2AB758E0DD}" dt="2020-03-25T12:00:47.677" v="232" actId="47"/>
        <pc:sldMkLst>
          <pc:docMk/>
          <pc:sldMk cId="1077894340" sldId="535"/>
        </pc:sldMkLst>
        <pc:spChg chg="mod">
          <ac:chgData name="Renata Festa" userId="6f22df47-533b-4c2a-a3c1-7f9ad1d63e10" providerId="ADAL" clId="{9DC626FE-C7F5-4FBF-A904-9A2AB758E0DD}" dt="2020-03-25T12:00:06.602" v="222"/>
          <ac:spMkLst>
            <pc:docMk/>
            <pc:sldMk cId="1077894340" sldId="535"/>
            <ac:spMk id="2" creationId="{BC57B38C-8413-4861-A4F5-7DF656AEAD0D}"/>
          </ac:spMkLst>
        </pc:spChg>
        <pc:spChg chg="mod">
          <ac:chgData name="Renata Festa" userId="6f22df47-533b-4c2a-a3c1-7f9ad1d63e10" providerId="ADAL" clId="{9DC626FE-C7F5-4FBF-A904-9A2AB758E0DD}" dt="2020-03-25T12:00:28.716" v="231" actId="113"/>
          <ac:spMkLst>
            <pc:docMk/>
            <pc:sldMk cId="1077894340" sldId="535"/>
            <ac:spMk id="3" creationId="{4897B8F8-26DF-42FB-ACB0-59929F1C2344}"/>
          </ac:spMkLst>
        </pc:spChg>
      </pc:sldChg>
      <pc:sldChg chg="del">
        <pc:chgData name="Renata Festa" userId="6f22df47-533b-4c2a-a3c1-7f9ad1d63e10" providerId="ADAL" clId="{9DC626FE-C7F5-4FBF-A904-9A2AB758E0DD}" dt="2020-03-25T12:00:00.544" v="220" actId="2696"/>
        <pc:sldMkLst>
          <pc:docMk/>
          <pc:sldMk cId="1861621179" sldId="535"/>
        </pc:sldMkLst>
      </pc:sldChg>
      <pc:sldChg chg="modSp modAnim">
        <pc:chgData name="Renata Festa" userId="6f22df47-533b-4c2a-a3c1-7f9ad1d63e10" providerId="ADAL" clId="{9DC626FE-C7F5-4FBF-A904-9A2AB758E0DD}" dt="2020-03-25T17:02:41.648" v="785"/>
        <pc:sldMkLst>
          <pc:docMk/>
          <pc:sldMk cId="3735096506" sldId="563"/>
        </pc:sldMkLst>
        <pc:graphicFrameChg chg="mod">
          <ac:chgData name="Renata Festa" userId="6f22df47-533b-4c2a-a3c1-7f9ad1d63e10" providerId="ADAL" clId="{9DC626FE-C7F5-4FBF-A904-9A2AB758E0DD}" dt="2020-03-25T12:01:15.991" v="245" actId="20577"/>
          <ac:graphicFrameMkLst>
            <pc:docMk/>
            <pc:sldMk cId="3735096506" sldId="563"/>
            <ac:graphicFrameMk id="3" creationId="{9484E1FE-7534-495E-863C-657A46F5E628}"/>
          </ac:graphicFrameMkLst>
        </pc:graphicFrameChg>
      </pc:sldChg>
      <pc:sldChg chg="addSp delSp modSp mod">
        <pc:chgData name="Renata Festa" userId="6f22df47-533b-4c2a-a3c1-7f9ad1d63e10" providerId="ADAL" clId="{9DC626FE-C7F5-4FBF-A904-9A2AB758E0DD}" dt="2020-03-25T12:02:14.542" v="249"/>
        <pc:sldMkLst>
          <pc:docMk/>
          <pc:sldMk cId="4221783869" sldId="566"/>
        </pc:sldMkLst>
        <pc:spChg chg="mod">
          <ac:chgData name="Renata Festa" userId="6f22df47-533b-4c2a-a3c1-7f9ad1d63e10" providerId="ADAL" clId="{9DC626FE-C7F5-4FBF-A904-9A2AB758E0DD}" dt="2020-03-25T12:01:58.955" v="246"/>
          <ac:spMkLst>
            <pc:docMk/>
            <pc:sldMk cId="4221783869" sldId="566"/>
            <ac:spMk id="2" creationId="{EB67312A-9819-43C6-8D84-D9136E6CFFCC}"/>
          </ac:spMkLst>
        </pc:spChg>
        <pc:spChg chg="del">
          <ac:chgData name="Renata Festa" userId="6f22df47-533b-4c2a-a3c1-7f9ad1d63e10" providerId="ADAL" clId="{9DC626FE-C7F5-4FBF-A904-9A2AB758E0DD}" dt="2020-03-25T12:02:01.797" v="247" actId="478"/>
          <ac:spMkLst>
            <pc:docMk/>
            <pc:sldMk cId="4221783869" sldId="566"/>
            <ac:spMk id="3" creationId="{F35E8CBB-5A7D-4DEF-BAF7-8DD5D042F9E0}"/>
          </ac:spMkLst>
        </pc:spChg>
        <pc:spChg chg="mod">
          <ac:chgData name="Renata Festa" userId="6f22df47-533b-4c2a-a3c1-7f9ad1d63e10" providerId="ADAL" clId="{9DC626FE-C7F5-4FBF-A904-9A2AB758E0DD}" dt="2020-03-25T12:02:06.103" v="248"/>
          <ac:spMkLst>
            <pc:docMk/>
            <pc:sldMk cId="4221783869" sldId="566"/>
            <ac:spMk id="4" creationId="{F3616A99-090F-45E1-9334-58D58B148205}"/>
          </ac:spMkLst>
        </pc:spChg>
        <pc:spChg chg="add">
          <ac:chgData name="Renata Festa" userId="6f22df47-533b-4c2a-a3c1-7f9ad1d63e10" providerId="ADAL" clId="{9DC626FE-C7F5-4FBF-A904-9A2AB758E0DD}" dt="2020-03-25T12:02:14.542" v="249"/>
          <ac:spMkLst>
            <pc:docMk/>
            <pc:sldMk cId="4221783869" sldId="566"/>
            <ac:spMk id="10" creationId="{757013C6-7961-442F-B763-874EFBA5FAEC}"/>
          </ac:spMkLst>
        </pc:spChg>
        <pc:grpChg chg="add">
          <ac:chgData name="Renata Festa" userId="6f22df47-533b-4c2a-a3c1-7f9ad1d63e10" providerId="ADAL" clId="{9DC626FE-C7F5-4FBF-A904-9A2AB758E0DD}" dt="2020-03-25T12:02:14.542" v="249"/>
          <ac:grpSpMkLst>
            <pc:docMk/>
            <pc:sldMk cId="4221783869" sldId="566"/>
            <ac:grpSpMk id="6" creationId="{3BFD6FD1-2168-471C-91C5-80649D2E359A}"/>
          </ac:grpSpMkLst>
        </pc:grpChg>
        <pc:grpChg chg="add">
          <ac:chgData name="Renata Festa" userId="6f22df47-533b-4c2a-a3c1-7f9ad1d63e10" providerId="ADAL" clId="{9DC626FE-C7F5-4FBF-A904-9A2AB758E0DD}" dt="2020-03-25T12:02:14.542" v="249"/>
          <ac:grpSpMkLst>
            <pc:docMk/>
            <pc:sldMk cId="4221783869" sldId="566"/>
            <ac:grpSpMk id="12" creationId="{E0D6C25B-A97C-4C58-B546-F46C15C2CDC3}"/>
          </ac:grpSpMkLst>
        </pc:grpChg>
        <pc:grpChg chg="add">
          <ac:chgData name="Renata Festa" userId="6f22df47-533b-4c2a-a3c1-7f9ad1d63e10" providerId="ADAL" clId="{9DC626FE-C7F5-4FBF-A904-9A2AB758E0DD}" dt="2020-03-25T12:02:14.542" v="249"/>
          <ac:grpSpMkLst>
            <pc:docMk/>
            <pc:sldMk cId="4221783869" sldId="566"/>
            <ac:grpSpMk id="18" creationId="{81E87F5F-3690-43A8-9117-9601B8272D16}"/>
          </ac:grpSpMkLst>
        </pc:grpChg>
        <pc:grpChg chg="add">
          <ac:chgData name="Renata Festa" userId="6f22df47-533b-4c2a-a3c1-7f9ad1d63e10" providerId="ADAL" clId="{9DC626FE-C7F5-4FBF-A904-9A2AB758E0DD}" dt="2020-03-25T12:02:14.542" v="249"/>
          <ac:grpSpMkLst>
            <pc:docMk/>
            <pc:sldMk cId="4221783869" sldId="566"/>
            <ac:grpSpMk id="24" creationId="{19B74C73-45E3-4921-BD82-419EE06BE88E}"/>
          </ac:grpSpMkLst>
        </pc:grpChg>
        <pc:grpChg chg="add">
          <ac:chgData name="Renata Festa" userId="6f22df47-533b-4c2a-a3c1-7f9ad1d63e10" providerId="ADAL" clId="{9DC626FE-C7F5-4FBF-A904-9A2AB758E0DD}" dt="2020-03-25T12:02:14.542" v="249"/>
          <ac:grpSpMkLst>
            <pc:docMk/>
            <pc:sldMk cId="4221783869" sldId="566"/>
            <ac:grpSpMk id="30" creationId="{BD67493D-5D1E-4662-9B1D-35E42416B027}"/>
          </ac:grpSpMkLst>
        </pc:grpChg>
        <pc:grpChg chg="add">
          <ac:chgData name="Renata Festa" userId="6f22df47-533b-4c2a-a3c1-7f9ad1d63e10" providerId="ADAL" clId="{9DC626FE-C7F5-4FBF-A904-9A2AB758E0DD}" dt="2020-03-25T12:02:14.542" v="249"/>
          <ac:grpSpMkLst>
            <pc:docMk/>
            <pc:sldMk cId="4221783869" sldId="566"/>
            <ac:grpSpMk id="36" creationId="{66DF8DCE-55F8-4610-B987-920183490173}"/>
          </ac:grpSpMkLst>
        </pc:grpChg>
        <pc:grpChg chg="add">
          <ac:chgData name="Renata Festa" userId="6f22df47-533b-4c2a-a3c1-7f9ad1d63e10" providerId="ADAL" clId="{9DC626FE-C7F5-4FBF-A904-9A2AB758E0DD}" dt="2020-03-25T12:02:14.542" v="249"/>
          <ac:grpSpMkLst>
            <pc:docMk/>
            <pc:sldMk cId="4221783869" sldId="566"/>
            <ac:grpSpMk id="42" creationId="{C910A9D8-293B-481D-A65C-27EAF82F51BC}"/>
          </ac:grpSpMkLst>
        </pc:grpChg>
        <pc:grpChg chg="add">
          <ac:chgData name="Renata Festa" userId="6f22df47-533b-4c2a-a3c1-7f9ad1d63e10" providerId="ADAL" clId="{9DC626FE-C7F5-4FBF-A904-9A2AB758E0DD}" dt="2020-03-25T12:02:14.542" v="249"/>
          <ac:grpSpMkLst>
            <pc:docMk/>
            <pc:sldMk cId="4221783869" sldId="566"/>
            <ac:grpSpMk id="48" creationId="{81F7AF0D-6767-4DEF-988A-400C05F98849}"/>
          </ac:grpSpMkLst>
        </pc:grpChg>
        <pc:grpChg chg="add">
          <ac:chgData name="Renata Festa" userId="6f22df47-533b-4c2a-a3c1-7f9ad1d63e10" providerId="ADAL" clId="{9DC626FE-C7F5-4FBF-A904-9A2AB758E0DD}" dt="2020-03-25T12:02:14.542" v="249"/>
          <ac:grpSpMkLst>
            <pc:docMk/>
            <pc:sldMk cId="4221783869" sldId="566"/>
            <ac:grpSpMk id="54" creationId="{2EF34518-66F2-46D1-AF9B-1D4A6023A19F}"/>
          </ac:grpSpMkLst>
        </pc:grpChg>
        <pc:grpChg chg="add">
          <ac:chgData name="Renata Festa" userId="6f22df47-533b-4c2a-a3c1-7f9ad1d63e10" providerId="ADAL" clId="{9DC626FE-C7F5-4FBF-A904-9A2AB758E0DD}" dt="2020-03-25T12:02:14.542" v="249"/>
          <ac:grpSpMkLst>
            <pc:docMk/>
            <pc:sldMk cId="4221783869" sldId="566"/>
            <ac:grpSpMk id="60" creationId="{C2AE6132-07A5-449F-A1E0-C386320C51BE}"/>
          </ac:grpSpMkLst>
        </pc:grpChg>
        <pc:grpChg chg="add">
          <ac:chgData name="Renata Festa" userId="6f22df47-533b-4c2a-a3c1-7f9ad1d63e10" providerId="ADAL" clId="{9DC626FE-C7F5-4FBF-A904-9A2AB758E0DD}" dt="2020-03-25T12:02:14.542" v="249"/>
          <ac:grpSpMkLst>
            <pc:docMk/>
            <pc:sldMk cId="4221783869" sldId="566"/>
            <ac:grpSpMk id="66" creationId="{9AFD7E68-D9AA-4084-899E-889FF7F4B705}"/>
          </ac:grpSpMkLst>
        </pc:grpChg>
        <pc:grpChg chg="add">
          <ac:chgData name="Renata Festa" userId="6f22df47-533b-4c2a-a3c1-7f9ad1d63e10" providerId="ADAL" clId="{9DC626FE-C7F5-4FBF-A904-9A2AB758E0DD}" dt="2020-03-25T12:02:14.542" v="249"/>
          <ac:grpSpMkLst>
            <pc:docMk/>
            <pc:sldMk cId="4221783869" sldId="566"/>
            <ac:grpSpMk id="72" creationId="{ED1450A7-4395-44A0-8F79-3387318D2F84}"/>
          </ac:grpSpMkLst>
        </pc:grpChg>
        <pc:graphicFrameChg chg="add">
          <ac:chgData name="Renata Festa" userId="6f22df47-533b-4c2a-a3c1-7f9ad1d63e10" providerId="ADAL" clId="{9DC626FE-C7F5-4FBF-A904-9A2AB758E0DD}" dt="2020-03-25T12:02:14.542" v="249"/>
          <ac:graphicFrameMkLst>
            <pc:docMk/>
            <pc:sldMk cId="4221783869" sldId="566"/>
            <ac:graphicFrameMk id="5" creationId="{038BF356-1E89-40D9-BEDB-34F14105319E}"/>
          </ac:graphicFrameMkLst>
        </pc:graphicFrameChg>
        <pc:graphicFrameChg chg="add">
          <ac:chgData name="Renata Festa" userId="6f22df47-533b-4c2a-a3c1-7f9ad1d63e10" providerId="ADAL" clId="{9DC626FE-C7F5-4FBF-A904-9A2AB758E0DD}" dt="2020-03-25T12:02:14.542" v="249"/>
          <ac:graphicFrameMkLst>
            <pc:docMk/>
            <pc:sldMk cId="4221783869" sldId="566"/>
            <ac:graphicFrameMk id="11" creationId="{E98BCF77-3ED4-4B24-B5E4-1763C6326330}"/>
          </ac:graphicFrameMkLst>
        </pc:graphicFrameChg>
      </pc:sldChg>
      <pc:sldChg chg="modSp mod modNotesTx">
        <pc:chgData name="Renata Festa" userId="6f22df47-533b-4c2a-a3c1-7f9ad1d63e10" providerId="ADAL" clId="{9DC626FE-C7F5-4FBF-A904-9A2AB758E0DD}" dt="2020-03-25T12:14:58.806" v="368" actId="5793"/>
        <pc:sldMkLst>
          <pc:docMk/>
          <pc:sldMk cId="670385602" sldId="567"/>
        </pc:sldMkLst>
        <pc:spChg chg="mod">
          <ac:chgData name="Renata Festa" userId="6f22df47-533b-4c2a-a3c1-7f9ad1d63e10" providerId="ADAL" clId="{9DC626FE-C7F5-4FBF-A904-9A2AB758E0DD}" dt="2020-03-25T12:14:44.853" v="361" actId="20577"/>
          <ac:spMkLst>
            <pc:docMk/>
            <pc:sldMk cId="670385602" sldId="567"/>
            <ac:spMk id="3" creationId="{8F64A22E-2B43-4FC6-AF08-0CDB3F9E9269}"/>
          </ac:spMkLst>
        </pc:spChg>
        <pc:spChg chg="mod">
          <ac:chgData name="Renata Festa" userId="6f22df47-533b-4c2a-a3c1-7f9ad1d63e10" providerId="ADAL" clId="{9DC626FE-C7F5-4FBF-A904-9A2AB758E0DD}" dt="2020-03-25T12:14:53.528" v="363" actId="20577"/>
          <ac:spMkLst>
            <pc:docMk/>
            <pc:sldMk cId="670385602" sldId="567"/>
            <ac:spMk id="6" creationId="{637E159C-9ACF-48AE-927A-D5FB13695C7F}"/>
          </ac:spMkLst>
        </pc:spChg>
      </pc:sldChg>
      <pc:sldChg chg="modSp mod">
        <pc:chgData name="Renata Festa" userId="6f22df47-533b-4c2a-a3c1-7f9ad1d63e10" providerId="ADAL" clId="{9DC626FE-C7F5-4FBF-A904-9A2AB758E0DD}" dt="2020-03-25T12:15:19.962" v="375" actId="20577"/>
        <pc:sldMkLst>
          <pc:docMk/>
          <pc:sldMk cId="2147177822" sldId="568"/>
        </pc:sldMkLst>
        <pc:spChg chg="mod">
          <ac:chgData name="Renata Festa" userId="6f22df47-533b-4c2a-a3c1-7f9ad1d63e10" providerId="ADAL" clId="{9DC626FE-C7F5-4FBF-A904-9A2AB758E0DD}" dt="2020-03-25T12:15:07.408" v="369"/>
          <ac:spMkLst>
            <pc:docMk/>
            <pc:sldMk cId="2147177822" sldId="568"/>
            <ac:spMk id="2" creationId="{BC57B38C-8413-4861-A4F5-7DF656AEAD0D}"/>
          </ac:spMkLst>
        </pc:spChg>
        <pc:spChg chg="mod">
          <ac:chgData name="Renata Festa" userId="6f22df47-533b-4c2a-a3c1-7f9ad1d63e10" providerId="ADAL" clId="{9DC626FE-C7F5-4FBF-A904-9A2AB758E0DD}" dt="2020-03-25T12:15:19.962" v="375" actId="20577"/>
          <ac:spMkLst>
            <pc:docMk/>
            <pc:sldMk cId="2147177822" sldId="568"/>
            <ac:spMk id="3" creationId="{4897B8F8-26DF-42FB-ACB0-59929F1C2344}"/>
          </ac:spMkLst>
        </pc:spChg>
      </pc:sldChg>
      <pc:sldChg chg="modSp modAnim">
        <pc:chgData name="Renata Festa" userId="6f22df47-533b-4c2a-a3c1-7f9ad1d63e10" providerId="ADAL" clId="{9DC626FE-C7F5-4FBF-A904-9A2AB758E0DD}" dt="2020-03-25T17:02:28.818" v="783"/>
        <pc:sldMkLst>
          <pc:docMk/>
          <pc:sldMk cId="2346840044" sldId="570"/>
        </pc:sldMkLst>
        <pc:graphicFrameChg chg="mod">
          <ac:chgData name="Renata Festa" userId="6f22df47-533b-4c2a-a3c1-7f9ad1d63e10" providerId="ADAL" clId="{9DC626FE-C7F5-4FBF-A904-9A2AB758E0DD}" dt="2020-03-25T12:15:40.629" v="379" actId="20577"/>
          <ac:graphicFrameMkLst>
            <pc:docMk/>
            <pc:sldMk cId="2346840044" sldId="570"/>
            <ac:graphicFrameMk id="3" creationId="{9484E1FE-7534-495E-863C-657A46F5E628}"/>
          </ac:graphicFrameMkLst>
        </pc:graphicFrameChg>
      </pc:sldChg>
      <pc:sldChg chg="addSp delSp modSp mod modAnim">
        <pc:chgData name="Renata Festa" userId="6f22df47-533b-4c2a-a3c1-7f9ad1d63e10" providerId="ADAL" clId="{9DC626FE-C7F5-4FBF-A904-9A2AB758E0DD}" dt="2020-03-25T12:17:06.081" v="395"/>
        <pc:sldMkLst>
          <pc:docMk/>
          <pc:sldMk cId="4248838292" sldId="573"/>
        </pc:sldMkLst>
        <pc:spChg chg="mod">
          <ac:chgData name="Renata Festa" userId="6f22df47-533b-4c2a-a3c1-7f9ad1d63e10" providerId="ADAL" clId="{9DC626FE-C7F5-4FBF-A904-9A2AB758E0DD}" dt="2020-03-25T12:16:04.573" v="380"/>
          <ac:spMkLst>
            <pc:docMk/>
            <pc:sldMk cId="4248838292" sldId="573"/>
            <ac:spMk id="2" creationId="{EB67312A-9819-43C6-8D84-D9136E6CFFCC}"/>
          </ac:spMkLst>
        </pc:spChg>
        <pc:spChg chg="del">
          <ac:chgData name="Renata Festa" userId="6f22df47-533b-4c2a-a3c1-7f9ad1d63e10" providerId="ADAL" clId="{9DC626FE-C7F5-4FBF-A904-9A2AB758E0DD}" dt="2020-03-25T12:16:07.161" v="381" actId="478"/>
          <ac:spMkLst>
            <pc:docMk/>
            <pc:sldMk cId="4248838292" sldId="573"/>
            <ac:spMk id="3" creationId="{F35E8CBB-5A7D-4DEF-BAF7-8DD5D042F9E0}"/>
          </ac:spMkLst>
        </pc:spChg>
        <pc:spChg chg="add mod">
          <ac:chgData name="Renata Festa" userId="6f22df47-533b-4c2a-a3c1-7f9ad1d63e10" providerId="ADAL" clId="{9DC626FE-C7F5-4FBF-A904-9A2AB758E0DD}" dt="2020-03-25T12:16:26.595" v="391" actId="1038"/>
          <ac:spMkLst>
            <pc:docMk/>
            <pc:sldMk cId="4248838292" sldId="573"/>
            <ac:spMk id="5" creationId="{34C0E287-E5C2-4129-A799-3AC13AF13E6C}"/>
          </ac:spMkLst>
        </pc:spChg>
        <pc:spChg chg="add mod">
          <ac:chgData name="Renata Festa" userId="6f22df47-533b-4c2a-a3c1-7f9ad1d63e10" providerId="ADAL" clId="{9DC626FE-C7F5-4FBF-A904-9A2AB758E0DD}" dt="2020-03-25T12:16:34.073" v="392" actId="27349"/>
          <ac:spMkLst>
            <pc:docMk/>
            <pc:sldMk cId="4248838292" sldId="573"/>
            <ac:spMk id="6" creationId="{72C4E140-2F19-4F01-AED9-E479ABF42A42}"/>
          </ac:spMkLst>
        </pc:spChg>
        <pc:spChg chg="add mod">
          <ac:chgData name="Renata Festa" userId="6f22df47-533b-4c2a-a3c1-7f9ad1d63e10" providerId="ADAL" clId="{9DC626FE-C7F5-4FBF-A904-9A2AB758E0DD}" dt="2020-03-25T12:16:26.595" v="391" actId="1038"/>
          <ac:spMkLst>
            <pc:docMk/>
            <pc:sldMk cId="4248838292" sldId="573"/>
            <ac:spMk id="8" creationId="{203AF98C-245E-45AD-A158-AA82BCA23CD8}"/>
          </ac:spMkLst>
        </pc:spChg>
        <pc:spChg chg="add mod">
          <ac:chgData name="Renata Festa" userId="6f22df47-533b-4c2a-a3c1-7f9ad1d63e10" providerId="ADAL" clId="{9DC626FE-C7F5-4FBF-A904-9A2AB758E0DD}" dt="2020-03-25T12:16:34.073" v="392" actId="27349"/>
          <ac:spMkLst>
            <pc:docMk/>
            <pc:sldMk cId="4248838292" sldId="573"/>
            <ac:spMk id="9" creationId="{EA4A2FCF-2430-487A-98AA-2248F1E68093}"/>
          </ac:spMkLst>
        </pc:spChg>
        <pc:spChg chg="add mod">
          <ac:chgData name="Renata Festa" userId="6f22df47-533b-4c2a-a3c1-7f9ad1d63e10" providerId="ADAL" clId="{9DC626FE-C7F5-4FBF-A904-9A2AB758E0DD}" dt="2020-03-25T12:16:26.595" v="391" actId="1038"/>
          <ac:spMkLst>
            <pc:docMk/>
            <pc:sldMk cId="4248838292" sldId="573"/>
            <ac:spMk id="11" creationId="{6D7F6F91-CC25-4A40-A8FA-68CBA434AC28}"/>
          </ac:spMkLst>
        </pc:spChg>
        <pc:spChg chg="add mod">
          <ac:chgData name="Renata Festa" userId="6f22df47-533b-4c2a-a3c1-7f9ad1d63e10" providerId="ADAL" clId="{9DC626FE-C7F5-4FBF-A904-9A2AB758E0DD}" dt="2020-03-25T12:16:34.073" v="392" actId="27349"/>
          <ac:spMkLst>
            <pc:docMk/>
            <pc:sldMk cId="4248838292" sldId="573"/>
            <ac:spMk id="12" creationId="{5764E9E6-5765-49B2-ABB7-2E0A9E889DBF}"/>
          </ac:spMkLst>
        </pc:spChg>
        <pc:spChg chg="add">
          <ac:chgData name="Renata Festa" userId="6f22df47-533b-4c2a-a3c1-7f9ad1d63e10" providerId="ADAL" clId="{9DC626FE-C7F5-4FBF-A904-9A2AB758E0DD}" dt="2020-03-25T12:16:23.483" v="382"/>
          <ac:spMkLst>
            <pc:docMk/>
            <pc:sldMk cId="4248838292" sldId="573"/>
            <ac:spMk id="14" creationId="{D918E1B1-0EC5-4055-9013-D16D819A5607}"/>
          </ac:spMkLst>
        </pc:spChg>
        <pc:spChg chg="add">
          <ac:chgData name="Renata Festa" userId="6f22df47-533b-4c2a-a3c1-7f9ad1d63e10" providerId="ADAL" clId="{9DC626FE-C7F5-4FBF-A904-9A2AB758E0DD}" dt="2020-03-25T12:16:23.483" v="382"/>
          <ac:spMkLst>
            <pc:docMk/>
            <pc:sldMk cId="4248838292" sldId="573"/>
            <ac:spMk id="15" creationId="{5BE74010-EABC-45B1-B407-1562512BD5D0}"/>
          </ac:spMkLst>
        </pc:spChg>
        <pc:spChg chg="add">
          <ac:chgData name="Renata Festa" userId="6f22df47-533b-4c2a-a3c1-7f9ad1d63e10" providerId="ADAL" clId="{9DC626FE-C7F5-4FBF-A904-9A2AB758E0DD}" dt="2020-03-25T12:16:23.483" v="382"/>
          <ac:spMkLst>
            <pc:docMk/>
            <pc:sldMk cId="4248838292" sldId="573"/>
            <ac:spMk id="16" creationId="{31C3A9BD-6141-4CA1-A10C-D921EF05EB7C}"/>
          </ac:spMkLst>
        </pc:spChg>
        <pc:spChg chg="add">
          <ac:chgData name="Renata Festa" userId="6f22df47-533b-4c2a-a3c1-7f9ad1d63e10" providerId="ADAL" clId="{9DC626FE-C7F5-4FBF-A904-9A2AB758E0DD}" dt="2020-03-25T12:16:23.483" v="382"/>
          <ac:spMkLst>
            <pc:docMk/>
            <pc:sldMk cId="4248838292" sldId="573"/>
            <ac:spMk id="17" creationId="{751A89A7-0D72-4E36-8B29-8C13965E436C}"/>
          </ac:spMkLst>
        </pc:spChg>
        <pc:spChg chg="add">
          <ac:chgData name="Renata Festa" userId="6f22df47-533b-4c2a-a3c1-7f9ad1d63e10" providerId="ADAL" clId="{9DC626FE-C7F5-4FBF-A904-9A2AB758E0DD}" dt="2020-03-25T12:16:23.483" v="382"/>
          <ac:spMkLst>
            <pc:docMk/>
            <pc:sldMk cId="4248838292" sldId="573"/>
            <ac:spMk id="18" creationId="{F40EC51A-AF4F-49EC-A2D3-3E3FEB002D2B}"/>
          </ac:spMkLst>
        </pc:spChg>
        <pc:spChg chg="add">
          <ac:chgData name="Renata Festa" userId="6f22df47-533b-4c2a-a3c1-7f9ad1d63e10" providerId="ADAL" clId="{9DC626FE-C7F5-4FBF-A904-9A2AB758E0DD}" dt="2020-03-25T12:16:23.483" v="382"/>
          <ac:spMkLst>
            <pc:docMk/>
            <pc:sldMk cId="4248838292" sldId="573"/>
            <ac:spMk id="19" creationId="{FC04C540-6242-423D-BD85-A8A6A734ECD9}"/>
          </ac:spMkLst>
        </pc:spChg>
        <pc:grpChg chg="add mod">
          <ac:chgData name="Renata Festa" userId="6f22df47-533b-4c2a-a3c1-7f9ad1d63e10" providerId="ADAL" clId="{9DC626FE-C7F5-4FBF-A904-9A2AB758E0DD}" dt="2020-03-25T12:16:26.595" v="391" actId="1038"/>
          <ac:grpSpMkLst>
            <pc:docMk/>
            <pc:sldMk cId="4248838292" sldId="573"/>
            <ac:grpSpMk id="7" creationId="{C92F3EFE-D088-4F66-A596-FAEED68AEF84}"/>
          </ac:grpSpMkLst>
        </pc:grpChg>
        <pc:grpChg chg="add mod">
          <ac:chgData name="Renata Festa" userId="6f22df47-533b-4c2a-a3c1-7f9ad1d63e10" providerId="ADAL" clId="{9DC626FE-C7F5-4FBF-A904-9A2AB758E0DD}" dt="2020-03-25T12:16:26.595" v="391" actId="1038"/>
          <ac:grpSpMkLst>
            <pc:docMk/>
            <pc:sldMk cId="4248838292" sldId="573"/>
            <ac:grpSpMk id="10" creationId="{ACF2D095-78A4-4AB5-AA55-D37C468E4080}"/>
          </ac:grpSpMkLst>
        </pc:grpChg>
        <pc:grpChg chg="add mod">
          <ac:chgData name="Renata Festa" userId="6f22df47-533b-4c2a-a3c1-7f9ad1d63e10" providerId="ADAL" clId="{9DC626FE-C7F5-4FBF-A904-9A2AB758E0DD}" dt="2020-03-25T12:16:26.595" v="391" actId="1038"/>
          <ac:grpSpMkLst>
            <pc:docMk/>
            <pc:sldMk cId="4248838292" sldId="573"/>
            <ac:grpSpMk id="13" creationId="{3E637152-E974-4725-A09D-FC299BCBD715}"/>
          </ac:grpSpMkLst>
        </pc:grpChg>
      </pc:sldChg>
      <pc:sldChg chg="modSp">
        <pc:chgData name="Renata Festa" userId="6f22df47-533b-4c2a-a3c1-7f9ad1d63e10" providerId="ADAL" clId="{9DC626FE-C7F5-4FBF-A904-9A2AB758E0DD}" dt="2020-03-25T12:27:40.967" v="511"/>
        <pc:sldMkLst>
          <pc:docMk/>
          <pc:sldMk cId="1487953619" sldId="574"/>
        </pc:sldMkLst>
        <pc:spChg chg="mod">
          <ac:chgData name="Renata Festa" userId="6f22df47-533b-4c2a-a3c1-7f9ad1d63e10" providerId="ADAL" clId="{9DC626FE-C7F5-4FBF-A904-9A2AB758E0DD}" dt="2020-03-25T12:27:40.967" v="511"/>
          <ac:spMkLst>
            <pc:docMk/>
            <pc:sldMk cId="1487953619" sldId="574"/>
            <ac:spMk id="6" creationId="{637E159C-9ACF-48AE-927A-D5FB13695C7F}"/>
          </ac:spMkLst>
        </pc:spChg>
      </pc:sldChg>
      <pc:sldChg chg="del">
        <pc:chgData name="Renata Festa" userId="6f22df47-533b-4c2a-a3c1-7f9ad1d63e10" providerId="ADAL" clId="{9DC626FE-C7F5-4FBF-A904-9A2AB758E0DD}" dt="2020-03-25T12:27:52.675" v="512" actId="47"/>
        <pc:sldMkLst>
          <pc:docMk/>
          <pc:sldMk cId="3563492871" sldId="575"/>
        </pc:sldMkLst>
      </pc:sldChg>
      <pc:sldChg chg="modSp modAnim modNotesTx">
        <pc:chgData name="Renata Festa" userId="6f22df47-533b-4c2a-a3c1-7f9ad1d63e10" providerId="ADAL" clId="{9DC626FE-C7F5-4FBF-A904-9A2AB758E0DD}" dt="2020-03-25T17:02:16.159" v="781"/>
        <pc:sldMkLst>
          <pc:docMk/>
          <pc:sldMk cId="4206133277" sldId="577"/>
        </pc:sldMkLst>
        <pc:graphicFrameChg chg="mod">
          <ac:chgData name="Renata Festa" userId="6f22df47-533b-4c2a-a3c1-7f9ad1d63e10" providerId="ADAL" clId="{9DC626FE-C7F5-4FBF-A904-9A2AB758E0DD}" dt="2020-03-25T12:28:09.793" v="521" actId="20577"/>
          <ac:graphicFrameMkLst>
            <pc:docMk/>
            <pc:sldMk cId="4206133277" sldId="577"/>
            <ac:graphicFrameMk id="3" creationId="{9484E1FE-7534-495E-863C-657A46F5E628}"/>
          </ac:graphicFrameMkLst>
        </pc:graphicFrameChg>
      </pc:sldChg>
      <pc:sldChg chg="addSp delSp modSp mod">
        <pc:chgData name="Renata Festa" userId="6f22df47-533b-4c2a-a3c1-7f9ad1d63e10" providerId="ADAL" clId="{9DC626FE-C7F5-4FBF-A904-9A2AB758E0DD}" dt="2020-03-25T12:29:50.755" v="534" actId="12084"/>
        <pc:sldMkLst>
          <pc:docMk/>
          <pc:sldMk cId="3819752479" sldId="580"/>
        </pc:sldMkLst>
        <pc:spChg chg="del">
          <ac:chgData name="Renata Festa" userId="6f22df47-533b-4c2a-a3c1-7f9ad1d63e10" providerId="ADAL" clId="{9DC626FE-C7F5-4FBF-A904-9A2AB758E0DD}" dt="2020-03-25T12:28:50.645" v="525"/>
          <ac:spMkLst>
            <pc:docMk/>
            <pc:sldMk cId="3819752479" sldId="580"/>
            <ac:spMk id="2" creationId="{EB67312A-9819-43C6-8D84-D9136E6CFFCC}"/>
          </ac:spMkLst>
        </pc:spChg>
        <pc:spChg chg="del">
          <ac:chgData name="Renata Festa" userId="6f22df47-533b-4c2a-a3c1-7f9ad1d63e10" providerId="ADAL" clId="{9DC626FE-C7F5-4FBF-A904-9A2AB758E0DD}" dt="2020-03-25T12:28:50.645" v="525"/>
          <ac:spMkLst>
            <pc:docMk/>
            <pc:sldMk cId="3819752479" sldId="580"/>
            <ac:spMk id="3" creationId="{F35E8CBB-5A7D-4DEF-BAF7-8DD5D042F9E0}"/>
          </ac:spMkLst>
        </pc:spChg>
        <pc:spChg chg="del">
          <ac:chgData name="Renata Festa" userId="6f22df47-533b-4c2a-a3c1-7f9ad1d63e10" providerId="ADAL" clId="{9DC626FE-C7F5-4FBF-A904-9A2AB758E0DD}" dt="2020-03-25T12:28:50.645" v="525"/>
          <ac:spMkLst>
            <pc:docMk/>
            <pc:sldMk cId="3819752479" sldId="580"/>
            <ac:spMk id="4" creationId="{F3616A99-090F-45E1-9334-58D58B148205}"/>
          </ac:spMkLst>
        </pc:spChg>
        <pc:spChg chg="add mod">
          <ac:chgData name="Renata Festa" userId="6f22df47-533b-4c2a-a3c1-7f9ad1d63e10" providerId="ADAL" clId="{9DC626FE-C7F5-4FBF-A904-9A2AB758E0DD}" dt="2020-03-25T12:29:02.974" v="530" actId="20577"/>
          <ac:spMkLst>
            <pc:docMk/>
            <pc:sldMk cId="3819752479" sldId="580"/>
            <ac:spMk id="5" creationId="{0A84ED15-ABB9-495A-8A03-3A131DE88582}"/>
          </ac:spMkLst>
        </pc:spChg>
        <pc:spChg chg="add del mod">
          <ac:chgData name="Renata Festa" userId="6f22df47-533b-4c2a-a3c1-7f9ad1d63e10" providerId="ADAL" clId="{9DC626FE-C7F5-4FBF-A904-9A2AB758E0DD}" dt="2020-03-25T12:29:50.755" v="534" actId="12084"/>
          <ac:spMkLst>
            <pc:docMk/>
            <pc:sldMk cId="3819752479" sldId="580"/>
            <ac:spMk id="6" creationId="{DEC5E2FA-C85E-4BA5-AC0A-6C253DB5106B}"/>
          </ac:spMkLst>
        </pc:spChg>
        <pc:graphicFrameChg chg="add mod">
          <ac:chgData name="Renata Festa" userId="6f22df47-533b-4c2a-a3c1-7f9ad1d63e10" providerId="ADAL" clId="{9DC626FE-C7F5-4FBF-A904-9A2AB758E0DD}" dt="2020-03-25T12:29:50.755" v="534" actId="12084"/>
          <ac:graphicFrameMkLst>
            <pc:docMk/>
            <pc:sldMk cId="3819752479" sldId="580"/>
            <ac:graphicFrameMk id="7" creationId="{1767E969-95E0-4490-B36A-DD7E44648359}"/>
          </ac:graphicFrameMkLst>
        </pc:graphicFrameChg>
      </pc:sldChg>
      <pc:sldChg chg="modSp mod modNotesTx">
        <pc:chgData name="Renata Festa" userId="6f22df47-533b-4c2a-a3c1-7f9ad1d63e10" providerId="ADAL" clId="{9DC626FE-C7F5-4FBF-A904-9A2AB758E0DD}" dt="2020-03-25T17:00:04.928" v="721" actId="20577"/>
        <pc:sldMkLst>
          <pc:docMk/>
          <pc:sldMk cId="159196581" sldId="581"/>
        </pc:sldMkLst>
        <pc:spChg chg="mod">
          <ac:chgData name="Renata Festa" userId="6f22df47-533b-4c2a-a3c1-7f9ad1d63e10" providerId="ADAL" clId="{9DC626FE-C7F5-4FBF-A904-9A2AB758E0DD}" dt="2020-03-25T16:59:50.820" v="710" actId="20577"/>
          <ac:spMkLst>
            <pc:docMk/>
            <pc:sldMk cId="159196581" sldId="581"/>
            <ac:spMk id="3" creationId="{8F64A22E-2B43-4FC6-AF08-0CDB3F9E9269}"/>
          </ac:spMkLst>
        </pc:spChg>
        <pc:spChg chg="mod">
          <ac:chgData name="Renata Festa" userId="6f22df47-533b-4c2a-a3c1-7f9ad1d63e10" providerId="ADAL" clId="{9DC626FE-C7F5-4FBF-A904-9A2AB758E0DD}" dt="2020-03-25T16:59:58.624" v="714" actId="20577"/>
          <ac:spMkLst>
            <pc:docMk/>
            <pc:sldMk cId="159196581" sldId="581"/>
            <ac:spMk id="6" creationId="{637E159C-9ACF-48AE-927A-D5FB13695C7F}"/>
          </ac:spMkLst>
        </pc:spChg>
      </pc:sldChg>
      <pc:sldChg chg="del">
        <pc:chgData name="Renata Festa" userId="6f22df47-533b-4c2a-a3c1-7f9ad1d63e10" providerId="ADAL" clId="{9DC626FE-C7F5-4FBF-A904-9A2AB758E0DD}" dt="2020-03-25T17:00:10.921" v="722" actId="47"/>
        <pc:sldMkLst>
          <pc:docMk/>
          <pc:sldMk cId="1046573154" sldId="582"/>
        </pc:sldMkLst>
      </pc:sldChg>
      <pc:sldChg chg="modSp modAnim">
        <pc:chgData name="Renata Festa" userId="6f22df47-533b-4c2a-a3c1-7f9ad1d63e10" providerId="ADAL" clId="{9DC626FE-C7F5-4FBF-A904-9A2AB758E0DD}" dt="2020-03-25T17:02:02.909" v="779"/>
        <pc:sldMkLst>
          <pc:docMk/>
          <pc:sldMk cId="2092846825" sldId="584"/>
        </pc:sldMkLst>
        <pc:graphicFrameChg chg="mod">
          <ac:chgData name="Renata Festa" userId="6f22df47-533b-4c2a-a3c1-7f9ad1d63e10" providerId="ADAL" clId="{9DC626FE-C7F5-4FBF-A904-9A2AB758E0DD}" dt="2020-03-25T17:00:29.003" v="730" actId="20577"/>
          <ac:graphicFrameMkLst>
            <pc:docMk/>
            <pc:sldMk cId="2092846825" sldId="584"/>
            <ac:graphicFrameMk id="3" creationId="{9484E1FE-7534-495E-863C-657A46F5E628}"/>
          </ac:graphicFrameMkLst>
        </pc:graphicFrameChg>
      </pc:sldChg>
      <pc:sldChg chg="del">
        <pc:chgData name="Renata Festa" userId="6f22df47-533b-4c2a-a3c1-7f9ad1d63e10" providerId="ADAL" clId="{9DC626FE-C7F5-4FBF-A904-9A2AB758E0DD}" dt="2020-03-25T12:00:50.072" v="237" actId="47"/>
        <pc:sldMkLst>
          <pc:docMk/>
          <pc:sldMk cId="3372985199" sldId="606"/>
        </pc:sldMkLst>
      </pc:sldChg>
      <pc:sldChg chg="del">
        <pc:chgData name="Renata Festa" userId="6f22df47-533b-4c2a-a3c1-7f9ad1d63e10" providerId="ADAL" clId="{9DC626FE-C7F5-4FBF-A904-9A2AB758E0DD}" dt="2020-03-25T12:14:36.941" v="358" actId="47"/>
        <pc:sldMkLst>
          <pc:docMk/>
          <pc:sldMk cId="2858126122" sldId="607"/>
        </pc:sldMkLst>
      </pc:sldChg>
      <pc:sldChg chg="del">
        <pc:chgData name="Renata Festa" userId="6f22df47-533b-4c2a-a3c1-7f9ad1d63e10" providerId="ADAL" clId="{9DC626FE-C7F5-4FBF-A904-9A2AB758E0DD}" dt="2020-03-25T12:27:32.006" v="509" actId="47"/>
        <pc:sldMkLst>
          <pc:docMk/>
          <pc:sldMk cId="3708277735" sldId="608"/>
        </pc:sldMkLst>
      </pc:sldChg>
      <pc:sldChg chg="del">
        <pc:chgData name="Renata Festa" userId="6f22df47-533b-4c2a-a3c1-7f9ad1d63e10" providerId="ADAL" clId="{9DC626FE-C7F5-4FBF-A904-9A2AB758E0DD}" dt="2020-03-25T16:59:41.515" v="706" actId="47"/>
        <pc:sldMkLst>
          <pc:docMk/>
          <pc:sldMk cId="1326429606" sldId="609"/>
        </pc:sldMkLst>
      </pc:sldChg>
      <pc:sldChg chg="addSp delSp modSp add mod modAnim">
        <pc:chgData name="Renata Festa" userId="6f22df47-533b-4c2a-a3c1-7f9ad1d63e10" providerId="ADAL" clId="{9DC626FE-C7F5-4FBF-A904-9A2AB758E0DD}" dt="2020-03-24T20:42:38.610" v="86" actId="12100"/>
        <pc:sldMkLst>
          <pc:docMk/>
          <pc:sldMk cId="1518175484" sldId="610"/>
        </pc:sldMkLst>
        <pc:spChg chg="mod">
          <ac:chgData name="Renata Festa" userId="6f22df47-533b-4c2a-a3c1-7f9ad1d63e10" providerId="ADAL" clId="{9DC626FE-C7F5-4FBF-A904-9A2AB758E0DD}" dt="2020-03-24T20:37:13.876" v="27"/>
          <ac:spMkLst>
            <pc:docMk/>
            <pc:sldMk cId="1518175484" sldId="610"/>
            <ac:spMk id="2" creationId="{EB67312A-9819-43C6-8D84-D9136E6CFFCC}"/>
          </ac:spMkLst>
        </pc:spChg>
        <pc:spChg chg="del">
          <ac:chgData name="Renata Festa" userId="6f22df47-533b-4c2a-a3c1-7f9ad1d63e10" providerId="ADAL" clId="{9DC626FE-C7F5-4FBF-A904-9A2AB758E0DD}" dt="2020-03-24T20:37:38.988" v="33" actId="478"/>
          <ac:spMkLst>
            <pc:docMk/>
            <pc:sldMk cId="1518175484" sldId="610"/>
            <ac:spMk id="3" creationId="{F35E8CBB-5A7D-4DEF-BAF7-8DD5D042F9E0}"/>
          </ac:spMkLst>
        </pc:spChg>
        <pc:spChg chg="del mod">
          <ac:chgData name="Renata Festa" userId="6f22df47-533b-4c2a-a3c1-7f9ad1d63e10" providerId="ADAL" clId="{9DC626FE-C7F5-4FBF-A904-9A2AB758E0DD}" dt="2020-03-24T20:38:09.409" v="37" actId="12084"/>
          <ac:spMkLst>
            <pc:docMk/>
            <pc:sldMk cId="1518175484" sldId="610"/>
            <ac:spMk id="4" creationId="{F3616A99-090F-45E1-9334-58D58B148205}"/>
          </ac:spMkLst>
        </pc:spChg>
        <pc:spChg chg="add del mod">
          <ac:chgData name="Renata Festa" userId="6f22df47-533b-4c2a-a3c1-7f9ad1d63e10" providerId="ADAL" clId="{9DC626FE-C7F5-4FBF-A904-9A2AB758E0DD}" dt="2020-03-24T20:38:38.748" v="43" actId="12084"/>
          <ac:spMkLst>
            <pc:docMk/>
            <pc:sldMk cId="1518175484" sldId="610"/>
            <ac:spMk id="7" creationId="{66187AB8-93E3-4A57-A2B5-F2BCC299F810}"/>
          </ac:spMkLst>
        </pc:spChg>
        <pc:graphicFrameChg chg="add del mod">
          <ac:chgData name="Renata Festa" userId="6f22df47-533b-4c2a-a3c1-7f9ad1d63e10" providerId="ADAL" clId="{9DC626FE-C7F5-4FBF-A904-9A2AB758E0DD}" dt="2020-03-24T20:38:20.463" v="41" actId="11529"/>
          <ac:graphicFrameMkLst>
            <pc:docMk/>
            <pc:sldMk cId="1518175484" sldId="610"/>
            <ac:graphicFrameMk id="6" creationId="{26C07B73-9D82-43F5-B97F-16CA7A5B915E}"/>
          </ac:graphicFrameMkLst>
        </pc:graphicFrameChg>
        <pc:graphicFrameChg chg="add mod">
          <ac:chgData name="Renata Festa" userId="6f22df47-533b-4c2a-a3c1-7f9ad1d63e10" providerId="ADAL" clId="{9DC626FE-C7F5-4FBF-A904-9A2AB758E0DD}" dt="2020-03-24T20:42:38.610" v="86" actId="12100"/>
          <ac:graphicFrameMkLst>
            <pc:docMk/>
            <pc:sldMk cId="1518175484" sldId="610"/>
            <ac:graphicFrameMk id="8" creationId="{BC7EFFA1-586E-4008-A8CE-D83226DF0B18}"/>
          </ac:graphicFrameMkLst>
        </pc:graphicFrameChg>
        <pc:picChg chg="add mod">
          <ac:chgData name="Renata Festa" userId="6f22df47-533b-4c2a-a3c1-7f9ad1d63e10" providerId="ADAL" clId="{9DC626FE-C7F5-4FBF-A904-9A2AB758E0DD}" dt="2020-03-24T20:38:55.140" v="52" actId="1076"/>
          <ac:picMkLst>
            <pc:docMk/>
            <pc:sldMk cId="1518175484" sldId="610"/>
            <ac:picMk id="5" creationId="{AEB8F5DA-4F4A-4228-B0DD-E6DC2E88E4EB}"/>
          </ac:picMkLst>
        </pc:picChg>
      </pc:sldChg>
      <pc:sldChg chg="addSp delSp modSp add mod modAnim modNotesTx">
        <pc:chgData name="Renata Festa" userId="6f22df47-533b-4c2a-a3c1-7f9ad1d63e10" providerId="ADAL" clId="{9DC626FE-C7F5-4FBF-A904-9A2AB758E0DD}" dt="2020-03-24T20:42:30.228" v="85" actId="12100"/>
        <pc:sldMkLst>
          <pc:docMk/>
          <pc:sldMk cId="306956093" sldId="611"/>
        </pc:sldMkLst>
        <pc:spChg chg="mod">
          <ac:chgData name="Renata Festa" userId="6f22df47-533b-4c2a-a3c1-7f9ad1d63e10" providerId="ADAL" clId="{9DC626FE-C7F5-4FBF-A904-9A2AB758E0DD}" dt="2020-03-24T20:39:58.808" v="63"/>
          <ac:spMkLst>
            <pc:docMk/>
            <pc:sldMk cId="306956093" sldId="611"/>
            <ac:spMk id="2" creationId="{EB67312A-9819-43C6-8D84-D9136E6CFFCC}"/>
          </ac:spMkLst>
        </pc:spChg>
        <pc:spChg chg="del">
          <ac:chgData name="Renata Festa" userId="6f22df47-533b-4c2a-a3c1-7f9ad1d63e10" providerId="ADAL" clId="{9DC626FE-C7F5-4FBF-A904-9A2AB758E0DD}" dt="2020-03-24T20:40:01.492" v="64" actId="478"/>
          <ac:spMkLst>
            <pc:docMk/>
            <pc:sldMk cId="306956093" sldId="611"/>
            <ac:spMk id="3" creationId="{F35E8CBB-5A7D-4DEF-BAF7-8DD5D042F9E0}"/>
          </ac:spMkLst>
        </pc:spChg>
        <pc:spChg chg="del mod">
          <ac:chgData name="Renata Festa" userId="6f22df47-533b-4c2a-a3c1-7f9ad1d63e10" providerId="ADAL" clId="{9DC626FE-C7F5-4FBF-A904-9A2AB758E0DD}" dt="2020-03-24T20:41:13.276" v="76" actId="12084"/>
          <ac:spMkLst>
            <pc:docMk/>
            <pc:sldMk cId="306956093" sldId="611"/>
            <ac:spMk id="4" creationId="{F3616A99-090F-45E1-9334-58D58B148205}"/>
          </ac:spMkLst>
        </pc:spChg>
        <pc:graphicFrameChg chg="add mod">
          <ac:chgData name="Renata Festa" userId="6f22df47-533b-4c2a-a3c1-7f9ad1d63e10" providerId="ADAL" clId="{9DC626FE-C7F5-4FBF-A904-9A2AB758E0DD}" dt="2020-03-24T20:42:30.228" v="85" actId="12100"/>
          <ac:graphicFrameMkLst>
            <pc:docMk/>
            <pc:sldMk cId="306956093" sldId="611"/>
            <ac:graphicFrameMk id="6" creationId="{6609E0FD-FE6D-4ABA-833A-E4051D589540}"/>
          </ac:graphicFrameMkLst>
        </pc:graphicFrameChg>
        <pc:picChg chg="add mod">
          <ac:chgData name="Renata Festa" userId="6f22df47-533b-4c2a-a3c1-7f9ad1d63e10" providerId="ADAL" clId="{9DC626FE-C7F5-4FBF-A904-9A2AB758E0DD}" dt="2020-03-24T20:41:28.521" v="81" actId="1076"/>
          <ac:picMkLst>
            <pc:docMk/>
            <pc:sldMk cId="306956093" sldId="611"/>
            <ac:picMk id="5" creationId="{44153B42-3840-467A-84A5-C6EE8935317C}"/>
          </ac:picMkLst>
        </pc:picChg>
      </pc:sldChg>
      <pc:sldChg chg="addSp delSp modSp add mod">
        <pc:chgData name="Renata Festa" userId="6f22df47-533b-4c2a-a3c1-7f9ad1d63e10" providerId="ADAL" clId="{9DC626FE-C7F5-4FBF-A904-9A2AB758E0DD}" dt="2020-03-25T11:55:43.720" v="158" actId="12084"/>
        <pc:sldMkLst>
          <pc:docMk/>
          <pc:sldMk cId="1386228708" sldId="612"/>
        </pc:sldMkLst>
        <pc:spChg chg="mod">
          <ac:chgData name="Renata Festa" userId="6f22df47-533b-4c2a-a3c1-7f9ad1d63e10" providerId="ADAL" clId="{9DC626FE-C7F5-4FBF-A904-9A2AB758E0DD}" dt="2020-03-24T20:43:19.903" v="92"/>
          <ac:spMkLst>
            <pc:docMk/>
            <pc:sldMk cId="1386228708" sldId="612"/>
            <ac:spMk id="2" creationId="{EB67312A-9819-43C6-8D84-D9136E6CFFCC}"/>
          </ac:spMkLst>
        </pc:spChg>
        <pc:spChg chg="del">
          <ac:chgData name="Renata Festa" userId="6f22df47-533b-4c2a-a3c1-7f9ad1d63e10" providerId="ADAL" clId="{9DC626FE-C7F5-4FBF-A904-9A2AB758E0DD}" dt="2020-03-24T20:43:22.044" v="93" actId="478"/>
          <ac:spMkLst>
            <pc:docMk/>
            <pc:sldMk cId="1386228708" sldId="612"/>
            <ac:spMk id="3" creationId="{F35E8CBB-5A7D-4DEF-BAF7-8DD5D042F9E0}"/>
          </ac:spMkLst>
        </pc:spChg>
        <pc:spChg chg="del">
          <ac:chgData name="Renata Festa" userId="6f22df47-533b-4c2a-a3c1-7f9ad1d63e10" providerId="ADAL" clId="{9DC626FE-C7F5-4FBF-A904-9A2AB758E0DD}" dt="2020-03-24T20:43:32.798" v="94"/>
          <ac:spMkLst>
            <pc:docMk/>
            <pc:sldMk cId="1386228708" sldId="612"/>
            <ac:spMk id="4" creationId="{F3616A99-090F-45E1-9334-58D58B148205}"/>
          </ac:spMkLst>
        </pc:spChg>
        <pc:spChg chg="add del mod">
          <ac:chgData name="Renata Festa" userId="6f22df47-533b-4c2a-a3c1-7f9ad1d63e10" providerId="ADAL" clId="{9DC626FE-C7F5-4FBF-A904-9A2AB758E0DD}" dt="2020-03-24T20:44:06.224" v="102" actId="478"/>
          <ac:spMkLst>
            <pc:docMk/>
            <pc:sldMk cId="1386228708" sldId="612"/>
            <ac:spMk id="5" creationId="{F22E146F-BD06-4EDF-8F8F-FCB7B0504B26}"/>
          </ac:spMkLst>
        </pc:spChg>
        <pc:spChg chg="add del mod">
          <ac:chgData name="Renata Festa" userId="6f22df47-533b-4c2a-a3c1-7f9ad1d63e10" providerId="ADAL" clId="{9DC626FE-C7F5-4FBF-A904-9A2AB758E0DD}" dt="2020-03-25T11:55:40.602" v="157" actId="12084"/>
          <ac:spMkLst>
            <pc:docMk/>
            <pc:sldMk cId="1386228708" sldId="612"/>
            <ac:spMk id="6" creationId="{1F2AC2EA-530F-41DB-8EBB-D7A4F7BAA1B6}"/>
          </ac:spMkLst>
        </pc:spChg>
        <pc:spChg chg="add del mod">
          <ac:chgData name="Renata Festa" userId="6f22df47-533b-4c2a-a3c1-7f9ad1d63e10" providerId="ADAL" clId="{9DC626FE-C7F5-4FBF-A904-9A2AB758E0DD}" dt="2020-03-25T11:55:43.720" v="158" actId="12084"/>
          <ac:spMkLst>
            <pc:docMk/>
            <pc:sldMk cId="1386228708" sldId="612"/>
            <ac:spMk id="7" creationId="{C2E1CA02-D01C-4953-B64E-D8086F574425}"/>
          </ac:spMkLst>
        </pc:spChg>
        <pc:graphicFrameChg chg="add del mod">
          <ac:chgData name="Renata Festa" userId="6f22df47-533b-4c2a-a3c1-7f9ad1d63e10" providerId="ADAL" clId="{9DC626FE-C7F5-4FBF-A904-9A2AB758E0DD}" dt="2020-03-25T11:55:16.475" v="152" actId="12084"/>
          <ac:graphicFrameMkLst>
            <pc:docMk/>
            <pc:sldMk cId="1386228708" sldId="612"/>
            <ac:graphicFrameMk id="8" creationId="{C5953E6D-5C1E-453D-A8E7-BAEA66A307F3}"/>
          </ac:graphicFrameMkLst>
        </pc:graphicFrameChg>
        <pc:graphicFrameChg chg="add del mod">
          <ac:chgData name="Renata Festa" userId="6f22df47-533b-4c2a-a3c1-7f9ad1d63e10" providerId="ADAL" clId="{9DC626FE-C7F5-4FBF-A904-9A2AB758E0DD}" dt="2020-03-25T11:55:16.046" v="151" actId="12084"/>
          <ac:graphicFrameMkLst>
            <pc:docMk/>
            <pc:sldMk cId="1386228708" sldId="612"/>
            <ac:graphicFrameMk id="9" creationId="{A5803085-2398-457A-9992-3F880C124CF6}"/>
          </ac:graphicFrameMkLst>
        </pc:graphicFrameChg>
        <pc:graphicFrameChg chg="add mod">
          <ac:chgData name="Renata Festa" userId="6f22df47-533b-4c2a-a3c1-7f9ad1d63e10" providerId="ADAL" clId="{9DC626FE-C7F5-4FBF-A904-9A2AB758E0DD}" dt="2020-03-25T11:55:40.602" v="157" actId="12084"/>
          <ac:graphicFrameMkLst>
            <pc:docMk/>
            <pc:sldMk cId="1386228708" sldId="612"/>
            <ac:graphicFrameMk id="10" creationId="{417DBFC5-4E56-44CE-9AC4-AC0734290384}"/>
          </ac:graphicFrameMkLst>
        </pc:graphicFrameChg>
        <pc:graphicFrameChg chg="add mod">
          <ac:chgData name="Renata Festa" userId="6f22df47-533b-4c2a-a3c1-7f9ad1d63e10" providerId="ADAL" clId="{9DC626FE-C7F5-4FBF-A904-9A2AB758E0DD}" dt="2020-03-25T11:55:43.720" v="158" actId="12084"/>
          <ac:graphicFrameMkLst>
            <pc:docMk/>
            <pc:sldMk cId="1386228708" sldId="612"/>
            <ac:graphicFrameMk id="11" creationId="{74904A73-2724-441B-8DB0-F187E4CF35D0}"/>
          </ac:graphicFrameMkLst>
        </pc:graphicFrameChg>
      </pc:sldChg>
      <pc:sldChg chg="addSp delSp modSp add mod">
        <pc:chgData name="Renata Festa" userId="6f22df47-533b-4c2a-a3c1-7f9ad1d63e10" providerId="ADAL" clId="{9DC626FE-C7F5-4FBF-A904-9A2AB758E0DD}" dt="2020-03-25T11:58:03.267" v="205" actId="12084"/>
        <pc:sldMkLst>
          <pc:docMk/>
          <pc:sldMk cId="2404043653" sldId="613"/>
        </pc:sldMkLst>
        <pc:spChg chg="mod">
          <ac:chgData name="Renata Festa" userId="6f22df47-533b-4c2a-a3c1-7f9ad1d63e10" providerId="ADAL" clId="{9DC626FE-C7F5-4FBF-A904-9A2AB758E0DD}" dt="2020-03-25T11:56:17.321" v="165"/>
          <ac:spMkLst>
            <pc:docMk/>
            <pc:sldMk cId="2404043653" sldId="613"/>
            <ac:spMk id="2" creationId="{EB67312A-9819-43C6-8D84-D9136E6CFFCC}"/>
          </ac:spMkLst>
        </pc:spChg>
        <pc:spChg chg="del">
          <ac:chgData name="Renata Festa" userId="6f22df47-533b-4c2a-a3c1-7f9ad1d63e10" providerId="ADAL" clId="{9DC626FE-C7F5-4FBF-A904-9A2AB758E0DD}" dt="2020-03-25T11:56:19.653" v="166" actId="478"/>
          <ac:spMkLst>
            <pc:docMk/>
            <pc:sldMk cId="2404043653" sldId="613"/>
            <ac:spMk id="3" creationId="{F35E8CBB-5A7D-4DEF-BAF7-8DD5D042F9E0}"/>
          </ac:spMkLst>
        </pc:spChg>
        <pc:spChg chg="del mod">
          <ac:chgData name="Renata Festa" userId="6f22df47-533b-4c2a-a3c1-7f9ad1d63e10" providerId="ADAL" clId="{9DC626FE-C7F5-4FBF-A904-9A2AB758E0DD}" dt="2020-03-25T11:58:03.267" v="205" actId="12084"/>
          <ac:spMkLst>
            <pc:docMk/>
            <pc:sldMk cId="2404043653" sldId="613"/>
            <ac:spMk id="4" creationId="{F3616A99-090F-45E1-9334-58D58B148205}"/>
          </ac:spMkLst>
        </pc:spChg>
        <pc:spChg chg="add mod">
          <ac:chgData name="Renata Festa" userId="6f22df47-533b-4c2a-a3c1-7f9ad1d63e10" providerId="ADAL" clId="{9DC626FE-C7F5-4FBF-A904-9A2AB758E0DD}" dt="2020-03-25T11:57:01.616" v="186" actId="571"/>
          <ac:spMkLst>
            <pc:docMk/>
            <pc:sldMk cId="2404043653" sldId="613"/>
            <ac:spMk id="5" creationId="{8237AAC4-1C43-400A-B03C-ED2196B3EFF1}"/>
          </ac:spMkLst>
        </pc:spChg>
        <pc:spChg chg="add del mod">
          <ac:chgData name="Renata Festa" userId="6f22df47-533b-4c2a-a3c1-7f9ad1d63e10" providerId="ADAL" clId="{9DC626FE-C7F5-4FBF-A904-9A2AB758E0DD}" dt="2020-03-25T11:58:00.093" v="204" actId="12084"/>
          <ac:spMkLst>
            <pc:docMk/>
            <pc:sldMk cId="2404043653" sldId="613"/>
            <ac:spMk id="6" creationId="{602ED2E6-4277-420E-9397-1E9C258232EA}"/>
          </ac:spMkLst>
        </pc:spChg>
        <pc:graphicFrameChg chg="add mod">
          <ac:chgData name="Renata Festa" userId="6f22df47-533b-4c2a-a3c1-7f9ad1d63e10" providerId="ADAL" clId="{9DC626FE-C7F5-4FBF-A904-9A2AB758E0DD}" dt="2020-03-25T11:58:00.093" v="204" actId="12084"/>
          <ac:graphicFrameMkLst>
            <pc:docMk/>
            <pc:sldMk cId="2404043653" sldId="613"/>
            <ac:graphicFrameMk id="7" creationId="{22DF50A6-C784-4E8E-818D-CBB906A45B14}"/>
          </ac:graphicFrameMkLst>
        </pc:graphicFrameChg>
        <pc:graphicFrameChg chg="add mod">
          <ac:chgData name="Renata Festa" userId="6f22df47-533b-4c2a-a3c1-7f9ad1d63e10" providerId="ADAL" clId="{9DC626FE-C7F5-4FBF-A904-9A2AB758E0DD}" dt="2020-03-25T11:58:03.267" v="205" actId="12084"/>
          <ac:graphicFrameMkLst>
            <pc:docMk/>
            <pc:sldMk cId="2404043653" sldId="613"/>
            <ac:graphicFrameMk id="8" creationId="{EC5E0D05-65DD-4048-B0D6-5E237DBF1D39}"/>
          </ac:graphicFrameMkLst>
        </pc:graphicFrameChg>
      </pc:sldChg>
      <pc:sldChg chg="addSp delSp modSp add mod">
        <pc:chgData name="Renata Festa" userId="6f22df47-533b-4c2a-a3c1-7f9ad1d63e10" providerId="ADAL" clId="{9DC626FE-C7F5-4FBF-A904-9A2AB758E0DD}" dt="2020-03-25T11:59:13.419" v="208"/>
        <pc:sldMkLst>
          <pc:docMk/>
          <pc:sldMk cId="2392973312" sldId="614"/>
        </pc:sldMkLst>
        <pc:spChg chg="mod">
          <ac:chgData name="Renata Festa" userId="6f22df47-533b-4c2a-a3c1-7f9ad1d63e10" providerId="ADAL" clId="{9DC626FE-C7F5-4FBF-A904-9A2AB758E0DD}" dt="2020-03-25T11:58:55.970" v="206"/>
          <ac:spMkLst>
            <pc:docMk/>
            <pc:sldMk cId="2392973312" sldId="614"/>
            <ac:spMk id="2" creationId="{EB67312A-9819-43C6-8D84-D9136E6CFFCC}"/>
          </ac:spMkLst>
        </pc:spChg>
        <pc:spChg chg="del">
          <ac:chgData name="Renata Festa" userId="6f22df47-533b-4c2a-a3c1-7f9ad1d63e10" providerId="ADAL" clId="{9DC626FE-C7F5-4FBF-A904-9A2AB758E0DD}" dt="2020-03-25T11:58:58.852" v="207" actId="478"/>
          <ac:spMkLst>
            <pc:docMk/>
            <pc:sldMk cId="2392973312" sldId="614"/>
            <ac:spMk id="3" creationId="{F35E8CBB-5A7D-4DEF-BAF7-8DD5D042F9E0}"/>
          </ac:spMkLst>
        </pc:spChg>
        <pc:spChg chg="del">
          <ac:chgData name="Renata Festa" userId="6f22df47-533b-4c2a-a3c1-7f9ad1d63e10" providerId="ADAL" clId="{9DC626FE-C7F5-4FBF-A904-9A2AB758E0DD}" dt="2020-03-25T11:59:13.419" v="208"/>
          <ac:spMkLst>
            <pc:docMk/>
            <pc:sldMk cId="2392973312" sldId="614"/>
            <ac:spMk id="4" creationId="{F3616A99-090F-45E1-9334-58D58B148205}"/>
          </ac:spMkLst>
        </pc:spChg>
        <pc:picChg chg="add mod">
          <ac:chgData name="Renata Festa" userId="6f22df47-533b-4c2a-a3c1-7f9ad1d63e10" providerId="ADAL" clId="{9DC626FE-C7F5-4FBF-A904-9A2AB758E0DD}" dt="2020-03-25T11:59:13.419" v="208"/>
          <ac:picMkLst>
            <pc:docMk/>
            <pc:sldMk cId="2392973312" sldId="614"/>
            <ac:picMk id="5" creationId="{BC81ADBB-6FCF-4102-A410-99CE76BDC82C}"/>
          </ac:picMkLst>
        </pc:picChg>
      </pc:sldChg>
      <pc:sldChg chg="addSp delSp modSp add mod modAnim">
        <pc:chgData name="Renata Festa" userId="6f22df47-533b-4c2a-a3c1-7f9ad1d63e10" providerId="ADAL" clId="{9DC626FE-C7F5-4FBF-A904-9A2AB758E0DD}" dt="2020-03-25T12:04:29.970" v="268"/>
        <pc:sldMkLst>
          <pc:docMk/>
          <pc:sldMk cId="1245675780" sldId="615"/>
        </pc:sldMkLst>
        <pc:spChg chg="mod">
          <ac:chgData name="Renata Festa" userId="6f22df47-533b-4c2a-a3c1-7f9ad1d63e10" providerId="ADAL" clId="{9DC626FE-C7F5-4FBF-A904-9A2AB758E0DD}" dt="2020-03-25T12:03:03.884" v="260"/>
          <ac:spMkLst>
            <pc:docMk/>
            <pc:sldMk cId="1245675780" sldId="615"/>
            <ac:spMk id="2" creationId="{EB67312A-9819-43C6-8D84-D9136E6CFFCC}"/>
          </ac:spMkLst>
        </pc:spChg>
        <pc:spChg chg="del">
          <ac:chgData name="Renata Festa" userId="6f22df47-533b-4c2a-a3c1-7f9ad1d63e10" providerId="ADAL" clId="{9DC626FE-C7F5-4FBF-A904-9A2AB758E0DD}" dt="2020-03-25T12:03:06.649" v="261" actId="478"/>
          <ac:spMkLst>
            <pc:docMk/>
            <pc:sldMk cId="1245675780" sldId="615"/>
            <ac:spMk id="3" creationId="{F35E8CBB-5A7D-4DEF-BAF7-8DD5D042F9E0}"/>
          </ac:spMkLst>
        </pc:spChg>
        <pc:spChg chg="add mod">
          <ac:chgData name="Renata Festa" userId="6f22df47-533b-4c2a-a3c1-7f9ad1d63e10" providerId="ADAL" clId="{9DC626FE-C7F5-4FBF-A904-9A2AB758E0DD}" dt="2020-03-25T12:03:43.976" v="264" actId="1038"/>
          <ac:spMkLst>
            <pc:docMk/>
            <pc:sldMk cId="1245675780" sldId="615"/>
            <ac:spMk id="5" creationId="{43412E72-0389-4A82-9D3A-84A86CEC35F5}"/>
          </ac:spMkLst>
        </pc:spChg>
        <pc:spChg chg="add mod">
          <ac:chgData name="Renata Festa" userId="6f22df47-533b-4c2a-a3c1-7f9ad1d63e10" providerId="ADAL" clId="{9DC626FE-C7F5-4FBF-A904-9A2AB758E0DD}" dt="2020-03-25T12:03:43.976" v="264" actId="1038"/>
          <ac:spMkLst>
            <pc:docMk/>
            <pc:sldMk cId="1245675780" sldId="615"/>
            <ac:spMk id="7" creationId="{CA9E28E0-D8DC-480F-894A-80ED72BCDBC0}"/>
          </ac:spMkLst>
        </pc:spChg>
        <pc:spChg chg="add mod">
          <ac:chgData name="Renata Festa" userId="6f22df47-533b-4c2a-a3c1-7f9ad1d63e10" providerId="ADAL" clId="{9DC626FE-C7F5-4FBF-A904-9A2AB758E0DD}" dt="2020-03-25T12:03:43.976" v="264" actId="1038"/>
          <ac:spMkLst>
            <pc:docMk/>
            <pc:sldMk cId="1245675780" sldId="615"/>
            <ac:spMk id="9" creationId="{ADE5207E-D2D5-41F5-ACDA-30C38A0F6EB7}"/>
          </ac:spMkLst>
        </pc:spChg>
        <pc:spChg chg="add">
          <ac:chgData name="Renata Festa" userId="6f22df47-533b-4c2a-a3c1-7f9ad1d63e10" providerId="ADAL" clId="{9DC626FE-C7F5-4FBF-A904-9A2AB758E0DD}" dt="2020-03-25T12:03:18.054" v="262"/>
          <ac:spMkLst>
            <pc:docMk/>
            <pc:sldMk cId="1245675780" sldId="615"/>
            <ac:spMk id="11" creationId="{D1536A35-F821-4976-B97E-14766B7C06D5}"/>
          </ac:spMkLst>
        </pc:spChg>
        <pc:spChg chg="add">
          <ac:chgData name="Renata Festa" userId="6f22df47-533b-4c2a-a3c1-7f9ad1d63e10" providerId="ADAL" clId="{9DC626FE-C7F5-4FBF-A904-9A2AB758E0DD}" dt="2020-03-25T12:03:18.054" v="262"/>
          <ac:spMkLst>
            <pc:docMk/>
            <pc:sldMk cId="1245675780" sldId="615"/>
            <ac:spMk id="12" creationId="{900280F0-6270-44F9-9A2B-FF2EF74A756B}"/>
          </ac:spMkLst>
        </pc:spChg>
        <pc:spChg chg="add">
          <ac:chgData name="Renata Festa" userId="6f22df47-533b-4c2a-a3c1-7f9ad1d63e10" providerId="ADAL" clId="{9DC626FE-C7F5-4FBF-A904-9A2AB758E0DD}" dt="2020-03-25T12:03:18.054" v="262"/>
          <ac:spMkLst>
            <pc:docMk/>
            <pc:sldMk cId="1245675780" sldId="615"/>
            <ac:spMk id="13" creationId="{B00D51D0-3351-4B35-98C7-243549AA7E63}"/>
          </ac:spMkLst>
        </pc:spChg>
        <pc:spChg chg="add">
          <ac:chgData name="Renata Festa" userId="6f22df47-533b-4c2a-a3c1-7f9ad1d63e10" providerId="ADAL" clId="{9DC626FE-C7F5-4FBF-A904-9A2AB758E0DD}" dt="2020-03-25T12:03:18.054" v="262"/>
          <ac:spMkLst>
            <pc:docMk/>
            <pc:sldMk cId="1245675780" sldId="615"/>
            <ac:spMk id="14" creationId="{756E5498-180E-4707-B166-A8D29C2DEB0A}"/>
          </ac:spMkLst>
        </pc:spChg>
        <pc:spChg chg="add">
          <ac:chgData name="Renata Festa" userId="6f22df47-533b-4c2a-a3c1-7f9ad1d63e10" providerId="ADAL" clId="{9DC626FE-C7F5-4FBF-A904-9A2AB758E0DD}" dt="2020-03-25T12:03:18.054" v="262"/>
          <ac:spMkLst>
            <pc:docMk/>
            <pc:sldMk cId="1245675780" sldId="615"/>
            <ac:spMk id="15" creationId="{9898CC3F-5C44-41F0-9BD1-4A9C88FE9AE9}"/>
          </ac:spMkLst>
        </pc:spChg>
        <pc:spChg chg="add">
          <ac:chgData name="Renata Festa" userId="6f22df47-533b-4c2a-a3c1-7f9ad1d63e10" providerId="ADAL" clId="{9DC626FE-C7F5-4FBF-A904-9A2AB758E0DD}" dt="2020-03-25T12:03:18.054" v="262"/>
          <ac:spMkLst>
            <pc:docMk/>
            <pc:sldMk cId="1245675780" sldId="615"/>
            <ac:spMk id="16" creationId="{540E0BFA-0E53-4919-B64A-E4BC35265C6A}"/>
          </ac:spMkLst>
        </pc:spChg>
        <pc:grpChg chg="add mod">
          <ac:chgData name="Renata Festa" userId="6f22df47-533b-4c2a-a3c1-7f9ad1d63e10" providerId="ADAL" clId="{9DC626FE-C7F5-4FBF-A904-9A2AB758E0DD}" dt="2020-03-25T12:03:43.976" v="264" actId="1038"/>
          <ac:grpSpMkLst>
            <pc:docMk/>
            <pc:sldMk cId="1245675780" sldId="615"/>
            <ac:grpSpMk id="6" creationId="{D83AA7DD-F0F6-490D-A26B-144AF5C42854}"/>
          </ac:grpSpMkLst>
        </pc:grpChg>
        <pc:grpChg chg="add mod">
          <ac:chgData name="Renata Festa" userId="6f22df47-533b-4c2a-a3c1-7f9ad1d63e10" providerId="ADAL" clId="{9DC626FE-C7F5-4FBF-A904-9A2AB758E0DD}" dt="2020-03-25T12:03:43.976" v="264" actId="1038"/>
          <ac:grpSpMkLst>
            <pc:docMk/>
            <pc:sldMk cId="1245675780" sldId="615"/>
            <ac:grpSpMk id="8" creationId="{7288E26B-9104-41B7-A46B-6153CB7C5F8B}"/>
          </ac:grpSpMkLst>
        </pc:grpChg>
        <pc:grpChg chg="add mod">
          <ac:chgData name="Renata Festa" userId="6f22df47-533b-4c2a-a3c1-7f9ad1d63e10" providerId="ADAL" clId="{9DC626FE-C7F5-4FBF-A904-9A2AB758E0DD}" dt="2020-03-25T12:03:43.976" v="264" actId="1038"/>
          <ac:grpSpMkLst>
            <pc:docMk/>
            <pc:sldMk cId="1245675780" sldId="615"/>
            <ac:grpSpMk id="10" creationId="{04B292D1-C417-4A08-9F82-9CA5B155F70A}"/>
          </ac:grpSpMkLst>
        </pc:grpChg>
      </pc:sldChg>
      <pc:sldChg chg="add del">
        <pc:chgData name="Renata Festa" userId="6f22df47-533b-4c2a-a3c1-7f9ad1d63e10" providerId="ADAL" clId="{9DC626FE-C7F5-4FBF-A904-9A2AB758E0DD}" dt="2020-03-25T12:00:47.677" v="232" actId="47"/>
        <pc:sldMkLst>
          <pc:docMk/>
          <pc:sldMk cId="4288367518" sldId="615"/>
        </pc:sldMkLst>
      </pc:sldChg>
      <pc:sldChg chg="add del">
        <pc:chgData name="Renata Festa" userId="6f22df47-533b-4c2a-a3c1-7f9ad1d63e10" providerId="ADAL" clId="{9DC626FE-C7F5-4FBF-A904-9A2AB758E0DD}" dt="2020-03-25T12:00:47.962" v="233" actId="47"/>
        <pc:sldMkLst>
          <pc:docMk/>
          <pc:sldMk cId="2244879276" sldId="616"/>
        </pc:sldMkLst>
      </pc:sldChg>
      <pc:sldChg chg="addSp delSp modSp add mod">
        <pc:chgData name="Renata Festa" userId="6f22df47-533b-4c2a-a3c1-7f9ad1d63e10" providerId="ADAL" clId="{9DC626FE-C7F5-4FBF-A904-9A2AB758E0DD}" dt="2020-03-25T12:06:11.387" v="281" actId="1076"/>
        <pc:sldMkLst>
          <pc:docMk/>
          <pc:sldMk cId="3398736227" sldId="616"/>
        </pc:sldMkLst>
        <pc:spChg chg="mod">
          <ac:chgData name="Renata Festa" userId="6f22df47-533b-4c2a-a3c1-7f9ad1d63e10" providerId="ADAL" clId="{9DC626FE-C7F5-4FBF-A904-9A2AB758E0DD}" dt="2020-03-25T12:04:47.795" v="269"/>
          <ac:spMkLst>
            <pc:docMk/>
            <pc:sldMk cId="3398736227" sldId="616"/>
            <ac:spMk id="2" creationId="{EB67312A-9819-43C6-8D84-D9136E6CFFCC}"/>
          </ac:spMkLst>
        </pc:spChg>
        <pc:spChg chg="del">
          <ac:chgData name="Renata Festa" userId="6f22df47-533b-4c2a-a3c1-7f9ad1d63e10" providerId="ADAL" clId="{9DC626FE-C7F5-4FBF-A904-9A2AB758E0DD}" dt="2020-03-25T12:04:49.466" v="270" actId="478"/>
          <ac:spMkLst>
            <pc:docMk/>
            <pc:sldMk cId="3398736227" sldId="616"/>
            <ac:spMk id="3" creationId="{F35E8CBB-5A7D-4DEF-BAF7-8DD5D042F9E0}"/>
          </ac:spMkLst>
        </pc:spChg>
        <pc:spChg chg="del mod">
          <ac:chgData name="Renata Festa" userId="6f22df47-533b-4c2a-a3c1-7f9ad1d63e10" providerId="ADAL" clId="{9DC626FE-C7F5-4FBF-A904-9A2AB758E0DD}" dt="2020-03-25T12:06:01.203" v="277" actId="12084"/>
          <ac:spMkLst>
            <pc:docMk/>
            <pc:sldMk cId="3398736227" sldId="616"/>
            <ac:spMk id="4" creationId="{F3616A99-090F-45E1-9334-58D58B148205}"/>
          </ac:spMkLst>
        </pc:spChg>
        <pc:graphicFrameChg chg="add mod">
          <ac:chgData name="Renata Festa" userId="6f22df47-533b-4c2a-a3c1-7f9ad1d63e10" providerId="ADAL" clId="{9DC626FE-C7F5-4FBF-A904-9A2AB758E0DD}" dt="2020-03-25T12:06:01.203" v="277" actId="12084"/>
          <ac:graphicFrameMkLst>
            <pc:docMk/>
            <pc:sldMk cId="3398736227" sldId="616"/>
            <ac:graphicFrameMk id="5" creationId="{E45287CD-7850-4655-A12E-288B214D9518}"/>
          </ac:graphicFrameMkLst>
        </pc:graphicFrameChg>
        <pc:picChg chg="add mod">
          <ac:chgData name="Renata Festa" userId="6f22df47-533b-4c2a-a3c1-7f9ad1d63e10" providerId="ADAL" clId="{9DC626FE-C7F5-4FBF-A904-9A2AB758E0DD}" dt="2020-03-25T12:06:11.387" v="281" actId="1076"/>
          <ac:picMkLst>
            <pc:docMk/>
            <pc:sldMk cId="3398736227" sldId="616"/>
            <ac:picMk id="6" creationId="{5079C15D-FD05-4DAC-B391-61FCDF0AF5E5}"/>
          </ac:picMkLst>
        </pc:picChg>
      </pc:sldChg>
      <pc:sldChg chg="delSp modSp add del mod">
        <pc:chgData name="Renata Festa" userId="6f22df47-533b-4c2a-a3c1-7f9ad1d63e10" providerId="ADAL" clId="{9DC626FE-C7F5-4FBF-A904-9A2AB758E0DD}" dt="2020-03-25T12:08:49.272" v="310" actId="47"/>
        <pc:sldMkLst>
          <pc:docMk/>
          <pc:sldMk cId="82769917" sldId="617"/>
        </pc:sldMkLst>
        <pc:spChg chg="mod">
          <ac:chgData name="Renata Festa" userId="6f22df47-533b-4c2a-a3c1-7f9ad1d63e10" providerId="ADAL" clId="{9DC626FE-C7F5-4FBF-A904-9A2AB758E0DD}" dt="2020-03-25T12:06:27.066" v="282"/>
          <ac:spMkLst>
            <pc:docMk/>
            <pc:sldMk cId="82769917" sldId="617"/>
            <ac:spMk id="2" creationId="{EB67312A-9819-43C6-8D84-D9136E6CFFCC}"/>
          </ac:spMkLst>
        </pc:spChg>
        <pc:spChg chg="del">
          <ac:chgData name="Renata Festa" userId="6f22df47-533b-4c2a-a3c1-7f9ad1d63e10" providerId="ADAL" clId="{9DC626FE-C7F5-4FBF-A904-9A2AB758E0DD}" dt="2020-03-25T12:06:30.200" v="283" actId="478"/>
          <ac:spMkLst>
            <pc:docMk/>
            <pc:sldMk cId="82769917" sldId="617"/>
            <ac:spMk id="3" creationId="{F35E8CBB-5A7D-4DEF-BAF7-8DD5D042F9E0}"/>
          </ac:spMkLst>
        </pc:spChg>
      </pc:sldChg>
      <pc:sldChg chg="add del">
        <pc:chgData name="Renata Festa" userId="6f22df47-533b-4c2a-a3c1-7f9ad1d63e10" providerId="ADAL" clId="{9DC626FE-C7F5-4FBF-A904-9A2AB758E0DD}" dt="2020-03-25T12:00:48.422" v="234" actId="47"/>
        <pc:sldMkLst>
          <pc:docMk/>
          <pc:sldMk cId="3875384002" sldId="617"/>
        </pc:sldMkLst>
      </pc:sldChg>
      <pc:sldChg chg="addSp delSp modSp add mod modAnim">
        <pc:chgData name="Renata Festa" userId="6f22df47-533b-4c2a-a3c1-7f9ad1d63e10" providerId="ADAL" clId="{9DC626FE-C7F5-4FBF-A904-9A2AB758E0DD}" dt="2020-03-25T12:09:51.315" v="317"/>
        <pc:sldMkLst>
          <pc:docMk/>
          <pc:sldMk cId="32275417" sldId="618"/>
        </pc:sldMkLst>
        <pc:spChg chg="mod">
          <ac:chgData name="Renata Festa" userId="6f22df47-533b-4c2a-a3c1-7f9ad1d63e10" providerId="ADAL" clId="{9DC626FE-C7F5-4FBF-A904-9A2AB758E0DD}" dt="2020-03-25T12:08:56.858" v="313" actId="6549"/>
          <ac:spMkLst>
            <pc:docMk/>
            <pc:sldMk cId="32275417" sldId="618"/>
            <ac:spMk id="2" creationId="{EB67312A-9819-43C6-8D84-D9136E6CFFCC}"/>
          </ac:spMkLst>
        </pc:spChg>
        <pc:spChg chg="del">
          <ac:chgData name="Renata Festa" userId="6f22df47-533b-4c2a-a3c1-7f9ad1d63e10" providerId="ADAL" clId="{9DC626FE-C7F5-4FBF-A904-9A2AB758E0DD}" dt="2020-03-25T12:08:54.491" v="312" actId="478"/>
          <ac:spMkLst>
            <pc:docMk/>
            <pc:sldMk cId="32275417" sldId="618"/>
            <ac:spMk id="3" creationId="{F35E8CBB-5A7D-4DEF-BAF7-8DD5D042F9E0}"/>
          </ac:spMkLst>
        </pc:spChg>
        <pc:graphicFrameChg chg="add mod">
          <ac:chgData name="Renata Festa" userId="6f22df47-533b-4c2a-a3c1-7f9ad1d63e10" providerId="ADAL" clId="{9DC626FE-C7F5-4FBF-A904-9A2AB758E0DD}" dt="2020-03-25T12:09:51.315" v="317"/>
          <ac:graphicFrameMkLst>
            <pc:docMk/>
            <pc:sldMk cId="32275417" sldId="618"/>
            <ac:graphicFrameMk id="5" creationId="{3ED871D8-C51E-45A6-9123-272AA70F089C}"/>
          </ac:graphicFrameMkLst>
        </pc:graphicFrameChg>
      </pc:sldChg>
      <pc:sldChg chg="add del">
        <pc:chgData name="Renata Festa" userId="6f22df47-533b-4c2a-a3c1-7f9ad1d63e10" providerId="ADAL" clId="{9DC626FE-C7F5-4FBF-A904-9A2AB758E0DD}" dt="2020-03-25T12:00:48.780" v="235" actId="47"/>
        <pc:sldMkLst>
          <pc:docMk/>
          <pc:sldMk cId="2888290429" sldId="618"/>
        </pc:sldMkLst>
      </pc:sldChg>
      <pc:sldChg chg="add del">
        <pc:chgData name="Renata Festa" userId="6f22df47-533b-4c2a-a3c1-7f9ad1d63e10" providerId="ADAL" clId="{9DC626FE-C7F5-4FBF-A904-9A2AB758E0DD}" dt="2020-03-25T12:00:49.205" v="236" actId="47"/>
        <pc:sldMkLst>
          <pc:docMk/>
          <pc:sldMk cId="322907803" sldId="619"/>
        </pc:sldMkLst>
      </pc:sldChg>
      <pc:sldChg chg="addSp delSp modSp add mod modAnim">
        <pc:chgData name="Renata Festa" userId="6f22df47-533b-4c2a-a3c1-7f9ad1d63e10" providerId="ADAL" clId="{9DC626FE-C7F5-4FBF-A904-9A2AB758E0DD}" dt="2020-03-25T12:14:13.299" v="357" actId="1076"/>
        <pc:sldMkLst>
          <pc:docMk/>
          <pc:sldMk cId="1913778146" sldId="619"/>
        </pc:sldMkLst>
        <pc:spChg chg="mod">
          <ac:chgData name="Renata Festa" userId="6f22df47-533b-4c2a-a3c1-7f9ad1d63e10" providerId="ADAL" clId="{9DC626FE-C7F5-4FBF-A904-9A2AB758E0DD}" dt="2020-03-25T12:10:07.257" v="318"/>
          <ac:spMkLst>
            <pc:docMk/>
            <pc:sldMk cId="1913778146" sldId="619"/>
            <ac:spMk id="2" creationId="{EB67312A-9819-43C6-8D84-D9136E6CFFCC}"/>
          </ac:spMkLst>
        </pc:spChg>
        <pc:spChg chg="del">
          <ac:chgData name="Renata Festa" userId="6f22df47-533b-4c2a-a3c1-7f9ad1d63e10" providerId="ADAL" clId="{9DC626FE-C7F5-4FBF-A904-9A2AB758E0DD}" dt="2020-03-25T12:11:06.994" v="332" actId="478"/>
          <ac:spMkLst>
            <pc:docMk/>
            <pc:sldMk cId="1913778146" sldId="619"/>
            <ac:spMk id="3" creationId="{F35E8CBB-5A7D-4DEF-BAF7-8DD5D042F9E0}"/>
          </ac:spMkLst>
        </pc:spChg>
        <pc:spChg chg="del">
          <ac:chgData name="Renata Festa" userId="6f22df47-533b-4c2a-a3c1-7f9ad1d63e10" providerId="ADAL" clId="{9DC626FE-C7F5-4FBF-A904-9A2AB758E0DD}" dt="2020-03-25T12:11:15.369" v="333"/>
          <ac:spMkLst>
            <pc:docMk/>
            <pc:sldMk cId="1913778146" sldId="619"/>
            <ac:spMk id="4" creationId="{F3616A99-090F-45E1-9334-58D58B148205}"/>
          </ac:spMkLst>
        </pc:spChg>
        <pc:spChg chg="add del mod">
          <ac:chgData name="Renata Festa" userId="6f22df47-533b-4c2a-a3c1-7f9ad1d63e10" providerId="ADAL" clId="{9DC626FE-C7F5-4FBF-A904-9A2AB758E0DD}" dt="2020-03-25T12:11:19.124" v="334" actId="478"/>
          <ac:spMkLst>
            <pc:docMk/>
            <pc:sldMk cId="1913778146" sldId="619"/>
            <ac:spMk id="6" creationId="{90FDCFC8-F3F8-4D59-A3DF-8F7F25944E6C}"/>
          </ac:spMkLst>
        </pc:spChg>
        <pc:spChg chg="add del mod">
          <ac:chgData name="Renata Festa" userId="6f22df47-533b-4c2a-a3c1-7f9ad1d63e10" providerId="ADAL" clId="{9DC626FE-C7F5-4FBF-A904-9A2AB758E0DD}" dt="2020-03-25T12:11:24.561" v="335" actId="478"/>
          <ac:spMkLst>
            <pc:docMk/>
            <pc:sldMk cId="1913778146" sldId="619"/>
            <ac:spMk id="7" creationId="{5904D14F-1BE2-40AE-B8EE-41A0285F6CD9}"/>
          </ac:spMkLst>
        </pc:spChg>
        <pc:spChg chg="add del mod">
          <ac:chgData name="Renata Festa" userId="6f22df47-533b-4c2a-a3c1-7f9ad1d63e10" providerId="ADAL" clId="{9DC626FE-C7F5-4FBF-A904-9A2AB758E0DD}" dt="2020-03-25T12:14:09.128" v="356" actId="478"/>
          <ac:spMkLst>
            <pc:docMk/>
            <pc:sldMk cId="1913778146" sldId="619"/>
            <ac:spMk id="8" creationId="{FF4CC357-9A8B-4D8D-A0FA-8A295B3F509E}"/>
          </ac:spMkLst>
        </pc:spChg>
        <pc:graphicFrameChg chg="add del mod">
          <ac:chgData name="Renata Festa" userId="6f22df47-533b-4c2a-a3c1-7f9ad1d63e10" providerId="ADAL" clId="{9DC626FE-C7F5-4FBF-A904-9A2AB758E0DD}" dt="2020-03-25T12:10:59.764" v="331" actId="11529"/>
          <ac:graphicFrameMkLst>
            <pc:docMk/>
            <pc:sldMk cId="1913778146" sldId="619"/>
            <ac:graphicFrameMk id="5" creationId="{3227363B-68CF-4D40-8702-4498F03B32E7}"/>
          </ac:graphicFrameMkLst>
        </pc:graphicFrameChg>
        <pc:graphicFrameChg chg="add mod">
          <ac:chgData name="Renata Festa" userId="6f22df47-533b-4c2a-a3c1-7f9ad1d63e10" providerId="ADAL" clId="{9DC626FE-C7F5-4FBF-A904-9A2AB758E0DD}" dt="2020-03-25T12:14:13.299" v="357" actId="1076"/>
          <ac:graphicFrameMkLst>
            <pc:docMk/>
            <pc:sldMk cId="1913778146" sldId="619"/>
            <ac:graphicFrameMk id="9" creationId="{FAC3A7AF-68B2-40C4-9219-29AFB53C5649}"/>
          </ac:graphicFrameMkLst>
        </pc:graphicFrameChg>
      </pc:sldChg>
      <pc:sldChg chg="add del">
        <pc:chgData name="Renata Festa" userId="6f22df47-533b-4c2a-a3c1-7f9ad1d63e10" providerId="ADAL" clId="{9DC626FE-C7F5-4FBF-A904-9A2AB758E0DD}" dt="2020-03-25T12:14:36.941" v="358" actId="47"/>
        <pc:sldMkLst>
          <pc:docMk/>
          <pc:sldMk cId="117243869" sldId="620"/>
        </pc:sldMkLst>
      </pc:sldChg>
      <pc:sldChg chg="add del">
        <pc:chgData name="Renata Festa" userId="6f22df47-533b-4c2a-a3c1-7f9ad1d63e10" providerId="ADAL" clId="{9DC626FE-C7F5-4FBF-A904-9A2AB758E0DD}" dt="2020-03-25T12:14:36.941" v="358" actId="47"/>
        <pc:sldMkLst>
          <pc:docMk/>
          <pc:sldMk cId="1775290996" sldId="621"/>
        </pc:sldMkLst>
      </pc:sldChg>
      <pc:sldChg chg="add del">
        <pc:chgData name="Renata Festa" userId="6f22df47-533b-4c2a-a3c1-7f9ad1d63e10" providerId="ADAL" clId="{9DC626FE-C7F5-4FBF-A904-9A2AB758E0DD}" dt="2020-03-25T12:14:36.941" v="358" actId="47"/>
        <pc:sldMkLst>
          <pc:docMk/>
          <pc:sldMk cId="3496800361" sldId="622"/>
        </pc:sldMkLst>
      </pc:sldChg>
      <pc:sldChg chg="add del">
        <pc:chgData name="Renata Festa" userId="6f22df47-533b-4c2a-a3c1-7f9ad1d63e10" providerId="ADAL" clId="{9DC626FE-C7F5-4FBF-A904-9A2AB758E0DD}" dt="2020-03-25T12:14:36.941" v="358" actId="47"/>
        <pc:sldMkLst>
          <pc:docMk/>
          <pc:sldMk cId="287974650" sldId="623"/>
        </pc:sldMkLst>
      </pc:sldChg>
      <pc:sldChg chg="add del">
        <pc:chgData name="Renata Festa" userId="6f22df47-533b-4c2a-a3c1-7f9ad1d63e10" providerId="ADAL" clId="{9DC626FE-C7F5-4FBF-A904-9A2AB758E0DD}" dt="2020-03-25T12:14:36.941" v="358" actId="47"/>
        <pc:sldMkLst>
          <pc:docMk/>
          <pc:sldMk cId="2139833689" sldId="624"/>
        </pc:sldMkLst>
      </pc:sldChg>
      <pc:sldChg chg="addSp delSp modSp add mod">
        <pc:chgData name="Renata Festa" userId="6f22df47-533b-4c2a-a3c1-7f9ad1d63e10" providerId="ADAL" clId="{9DC626FE-C7F5-4FBF-A904-9A2AB758E0DD}" dt="2020-03-25T12:08:26.447" v="309" actId="1036"/>
        <pc:sldMkLst>
          <pc:docMk/>
          <pc:sldMk cId="3029254507" sldId="625"/>
        </pc:sldMkLst>
        <pc:spChg chg="mod">
          <ac:chgData name="Renata Festa" userId="6f22df47-533b-4c2a-a3c1-7f9ad1d63e10" providerId="ADAL" clId="{9DC626FE-C7F5-4FBF-A904-9A2AB758E0DD}" dt="2020-03-25T12:06:48.896" v="290"/>
          <ac:spMkLst>
            <pc:docMk/>
            <pc:sldMk cId="3029254507" sldId="625"/>
            <ac:spMk id="2" creationId="{EB67312A-9819-43C6-8D84-D9136E6CFFCC}"/>
          </ac:spMkLst>
        </pc:spChg>
        <pc:spChg chg="add del mod">
          <ac:chgData name="Renata Festa" userId="6f22df47-533b-4c2a-a3c1-7f9ad1d63e10" providerId="ADAL" clId="{9DC626FE-C7F5-4FBF-A904-9A2AB758E0DD}" dt="2020-03-25T12:06:46.526" v="289"/>
          <ac:spMkLst>
            <pc:docMk/>
            <pc:sldMk cId="3029254507" sldId="625"/>
            <ac:spMk id="3" creationId="{20BB7C5E-D8A6-4F49-B551-0780910961F7}"/>
          </ac:spMkLst>
        </pc:spChg>
        <pc:spChg chg="add del mod">
          <ac:chgData name="Renata Festa" userId="6f22df47-533b-4c2a-a3c1-7f9ad1d63e10" providerId="ADAL" clId="{9DC626FE-C7F5-4FBF-A904-9A2AB758E0DD}" dt="2020-03-25T12:07:49.966" v="302" actId="12084"/>
          <ac:spMkLst>
            <pc:docMk/>
            <pc:sldMk cId="3029254507" sldId="625"/>
            <ac:spMk id="4" creationId="{E9914945-4A6A-424D-9DA6-D45443DEEBA5}"/>
          </ac:spMkLst>
        </pc:spChg>
        <pc:graphicFrameChg chg="del mod">
          <ac:chgData name="Renata Festa" userId="6f22df47-533b-4c2a-a3c1-7f9ad1d63e10" providerId="ADAL" clId="{9DC626FE-C7F5-4FBF-A904-9A2AB758E0DD}" dt="2020-03-25T12:07:21.665" v="297" actId="11529"/>
          <ac:graphicFrameMkLst>
            <pc:docMk/>
            <pc:sldMk cId="3029254507" sldId="625"/>
            <ac:graphicFrameMk id="5" creationId="{E45287CD-7850-4655-A12E-288B214D9518}"/>
          </ac:graphicFrameMkLst>
        </pc:graphicFrameChg>
        <pc:graphicFrameChg chg="add mod">
          <ac:chgData name="Renata Festa" userId="6f22df47-533b-4c2a-a3c1-7f9ad1d63e10" providerId="ADAL" clId="{9DC626FE-C7F5-4FBF-A904-9A2AB758E0DD}" dt="2020-03-25T12:08:26.447" v="309" actId="1036"/>
          <ac:graphicFrameMkLst>
            <pc:docMk/>
            <pc:sldMk cId="3029254507" sldId="625"/>
            <ac:graphicFrameMk id="8" creationId="{4FD52D02-547A-4E62-A617-DE934C045434}"/>
          </ac:graphicFrameMkLst>
        </pc:graphicFrameChg>
        <pc:picChg chg="del">
          <ac:chgData name="Renata Festa" userId="6f22df47-533b-4c2a-a3c1-7f9ad1d63e10" providerId="ADAL" clId="{9DC626FE-C7F5-4FBF-A904-9A2AB758E0DD}" dt="2020-03-25T12:06:58.888" v="294" actId="478"/>
          <ac:picMkLst>
            <pc:docMk/>
            <pc:sldMk cId="3029254507" sldId="625"/>
            <ac:picMk id="6" creationId="{5079C15D-FD05-4DAC-B391-61FCDF0AF5E5}"/>
          </ac:picMkLst>
        </pc:picChg>
        <pc:picChg chg="add mod">
          <ac:chgData name="Renata Festa" userId="6f22df47-533b-4c2a-a3c1-7f9ad1d63e10" providerId="ADAL" clId="{9DC626FE-C7F5-4FBF-A904-9A2AB758E0DD}" dt="2020-03-25T12:07:01.106" v="295" actId="14100"/>
          <ac:picMkLst>
            <pc:docMk/>
            <pc:sldMk cId="3029254507" sldId="625"/>
            <ac:picMk id="7" creationId="{5F0B853E-366A-4A8B-989A-CB88486BCF46}"/>
          </ac:picMkLst>
        </pc:picChg>
      </pc:sldChg>
      <pc:sldChg chg="addSp delSp modSp add mod modAnim">
        <pc:chgData name="Renata Festa" userId="6f22df47-533b-4c2a-a3c1-7f9ad1d63e10" providerId="ADAL" clId="{9DC626FE-C7F5-4FBF-A904-9A2AB758E0DD}" dt="2020-03-25T12:18:50.775" v="414"/>
        <pc:sldMkLst>
          <pc:docMk/>
          <pc:sldMk cId="2811608349" sldId="626"/>
        </pc:sldMkLst>
        <pc:spChg chg="mod">
          <ac:chgData name="Renata Festa" userId="6f22df47-533b-4c2a-a3c1-7f9ad1d63e10" providerId="ADAL" clId="{9DC626FE-C7F5-4FBF-A904-9A2AB758E0DD}" dt="2020-03-25T12:17:32.797" v="405"/>
          <ac:spMkLst>
            <pc:docMk/>
            <pc:sldMk cId="2811608349" sldId="626"/>
            <ac:spMk id="2" creationId="{211E48F7-A4C3-4471-8C8C-4759EF7B8B35}"/>
          </ac:spMkLst>
        </pc:spChg>
        <pc:spChg chg="add del mod">
          <ac:chgData name="Renata Festa" userId="6f22df47-533b-4c2a-a3c1-7f9ad1d63e10" providerId="ADAL" clId="{9DC626FE-C7F5-4FBF-A904-9A2AB758E0DD}" dt="2020-03-25T12:18:26.104" v="411" actId="12084"/>
          <ac:spMkLst>
            <pc:docMk/>
            <pc:sldMk cId="2811608349" sldId="626"/>
            <ac:spMk id="4" creationId="{E3C73746-31BF-477F-85C3-B8363EEEDEF9}"/>
          </ac:spMkLst>
        </pc:spChg>
        <pc:graphicFrameChg chg="add mod">
          <ac:chgData name="Renata Festa" userId="6f22df47-533b-4c2a-a3c1-7f9ad1d63e10" providerId="ADAL" clId="{9DC626FE-C7F5-4FBF-A904-9A2AB758E0DD}" dt="2020-03-25T12:18:26.104" v="411" actId="12084"/>
          <ac:graphicFrameMkLst>
            <pc:docMk/>
            <pc:sldMk cId="2811608349" sldId="626"/>
            <ac:graphicFrameMk id="6" creationId="{9B6CA25F-8695-4051-B21D-C110DEC44A1A}"/>
          </ac:graphicFrameMkLst>
        </pc:graphicFrameChg>
        <pc:picChg chg="add mod">
          <ac:chgData name="Renata Festa" userId="6f22df47-533b-4c2a-a3c1-7f9ad1d63e10" providerId="ADAL" clId="{9DC626FE-C7F5-4FBF-A904-9A2AB758E0DD}" dt="2020-03-25T12:18:30.966" v="412" actId="1076"/>
          <ac:picMkLst>
            <pc:docMk/>
            <pc:sldMk cId="2811608349" sldId="626"/>
            <ac:picMk id="5" creationId="{78772CA4-B940-46B6-A71F-D66150F6AAF0}"/>
          </ac:picMkLst>
        </pc:picChg>
      </pc:sldChg>
      <pc:sldChg chg="addSp delSp modSp add mod modAnim">
        <pc:chgData name="Renata Festa" userId="6f22df47-533b-4c2a-a3c1-7f9ad1d63e10" providerId="ADAL" clId="{9DC626FE-C7F5-4FBF-A904-9A2AB758E0DD}" dt="2020-03-25T12:20:19.982" v="431" actId="13782"/>
        <pc:sldMkLst>
          <pc:docMk/>
          <pc:sldMk cId="3236194200" sldId="627"/>
        </pc:sldMkLst>
        <pc:spChg chg="mod">
          <ac:chgData name="Renata Festa" userId="6f22df47-533b-4c2a-a3c1-7f9ad1d63e10" providerId="ADAL" clId="{9DC626FE-C7F5-4FBF-A904-9A2AB758E0DD}" dt="2020-03-25T12:19:03.594" v="415"/>
          <ac:spMkLst>
            <pc:docMk/>
            <pc:sldMk cId="3236194200" sldId="627"/>
            <ac:spMk id="2" creationId="{211E48F7-A4C3-4471-8C8C-4759EF7B8B35}"/>
          </ac:spMkLst>
        </pc:spChg>
        <pc:spChg chg="del mod">
          <ac:chgData name="Renata Festa" userId="6f22df47-533b-4c2a-a3c1-7f9ad1d63e10" providerId="ADAL" clId="{9DC626FE-C7F5-4FBF-A904-9A2AB758E0DD}" dt="2020-03-25T12:19:34.021" v="428" actId="12084"/>
          <ac:spMkLst>
            <pc:docMk/>
            <pc:sldMk cId="3236194200" sldId="627"/>
            <ac:spMk id="3" creationId="{7EC492B1-CA18-4AEC-B486-A1D60C0F6202}"/>
          </ac:spMkLst>
        </pc:spChg>
        <pc:graphicFrameChg chg="add mod">
          <ac:chgData name="Renata Festa" userId="6f22df47-533b-4c2a-a3c1-7f9ad1d63e10" providerId="ADAL" clId="{9DC626FE-C7F5-4FBF-A904-9A2AB758E0DD}" dt="2020-03-25T12:20:19.982" v="431" actId="13782"/>
          <ac:graphicFrameMkLst>
            <pc:docMk/>
            <pc:sldMk cId="3236194200" sldId="627"/>
            <ac:graphicFrameMk id="4" creationId="{032DE333-81A8-45DD-B994-D3460A86473B}"/>
          </ac:graphicFrameMkLst>
        </pc:graphicFrameChg>
      </pc:sldChg>
      <pc:sldChg chg="addSp modSp add mod modNotesTx">
        <pc:chgData name="Renata Festa" userId="6f22df47-533b-4c2a-a3c1-7f9ad1d63e10" providerId="ADAL" clId="{9DC626FE-C7F5-4FBF-A904-9A2AB758E0DD}" dt="2020-03-25T12:21:04.276" v="439" actId="14100"/>
        <pc:sldMkLst>
          <pc:docMk/>
          <pc:sldMk cId="2427148105" sldId="628"/>
        </pc:sldMkLst>
        <pc:spChg chg="mod">
          <ac:chgData name="Renata Festa" userId="6f22df47-533b-4c2a-a3c1-7f9ad1d63e10" providerId="ADAL" clId="{9DC626FE-C7F5-4FBF-A904-9A2AB758E0DD}" dt="2020-03-25T12:20:38.546" v="432"/>
          <ac:spMkLst>
            <pc:docMk/>
            <pc:sldMk cId="2427148105" sldId="628"/>
            <ac:spMk id="2" creationId="{211E48F7-A4C3-4471-8C8C-4759EF7B8B35}"/>
          </ac:spMkLst>
        </pc:spChg>
        <pc:graphicFrameChg chg="add mod modGraphic">
          <ac:chgData name="Renata Festa" userId="6f22df47-533b-4c2a-a3c1-7f9ad1d63e10" providerId="ADAL" clId="{9DC626FE-C7F5-4FBF-A904-9A2AB758E0DD}" dt="2020-03-25T12:21:04.276" v="439" actId="14100"/>
          <ac:graphicFrameMkLst>
            <pc:docMk/>
            <pc:sldMk cId="2427148105" sldId="628"/>
            <ac:graphicFrameMk id="4" creationId="{378E54A6-E156-4102-85DC-94009EE3D922}"/>
          </ac:graphicFrameMkLst>
        </pc:graphicFrameChg>
      </pc:sldChg>
      <pc:sldChg chg="addSp delSp modSp add mod modClrScheme chgLayout">
        <pc:chgData name="Renata Festa" userId="6f22df47-533b-4c2a-a3c1-7f9ad1d63e10" providerId="ADAL" clId="{9DC626FE-C7F5-4FBF-A904-9A2AB758E0DD}" dt="2020-03-25T12:22:59.196" v="473" actId="1037"/>
        <pc:sldMkLst>
          <pc:docMk/>
          <pc:sldMk cId="3321722661" sldId="629"/>
        </pc:sldMkLst>
        <pc:spChg chg="mod">
          <ac:chgData name="Renata Festa" userId="6f22df47-533b-4c2a-a3c1-7f9ad1d63e10" providerId="ADAL" clId="{9DC626FE-C7F5-4FBF-A904-9A2AB758E0DD}" dt="2020-03-25T12:21:59.974" v="449" actId="26606"/>
          <ac:spMkLst>
            <pc:docMk/>
            <pc:sldMk cId="3321722661" sldId="629"/>
            <ac:spMk id="2" creationId="{211E48F7-A4C3-4471-8C8C-4759EF7B8B35}"/>
          </ac:spMkLst>
        </pc:spChg>
        <pc:spChg chg="del mod ord">
          <ac:chgData name="Renata Festa" userId="6f22df47-533b-4c2a-a3c1-7f9ad1d63e10" providerId="ADAL" clId="{9DC626FE-C7F5-4FBF-A904-9A2AB758E0DD}" dt="2020-03-25T12:22:09.695" v="450" actId="12084"/>
          <ac:spMkLst>
            <pc:docMk/>
            <pc:sldMk cId="3321722661" sldId="629"/>
            <ac:spMk id="3" creationId="{7EC492B1-CA18-4AEC-B486-A1D60C0F6202}"/>
          </ac:spMkLst>
        </pc:spChg>
        <pc:graphicFrameChg chg="add mod">
          <ac:chgData name="Renata Festa" userId="6f22df47-533b-4c2a-a3c1-7f9ad1d63e10" providerId="ADAL" clId="{9DC626FE-C7F5-4FBF-A904-9A2AB758E0DD}" dt="2020-03-25T12:22:59.196" v="473" actId="1037"/>
          <ac:graphicFrameMkLst>
            <pc:docMk/>
            <pc:sldMk cId="3321722661" sldId="629"/>
            <ac:graphicFrameMk id="5" creationId="{FF490BB0-C81D-429C-888D-1E9AE8F8C052}"/>
          </ac:graphicFrameMkLst>
        </pc:graphicFrameChg>
        <pc:picChg chg="add mod">
          <ac:chgData name="Renata Festa" userId="6f22df47-533b-4c2a-a3c1-7f9ad1d63e10" providerId="ADAL" clId="{9DC626FE-C7F5-4FBF-A904-9A2AB758E0DD}" dt="2020-03-25T12:22:34.828" v="459" actId="1076"/>
          <ac:picMkLst>
            <pc:docMk/>
            <pc:sldMk cId="3321722661" sldId="629"/>
            <ac:picMk id="4" creationId="{250117F8-0322-4F68-8181-2E4CE044A151}"/>
          </ac:picMkLst>
        </pc:picChg>
      </pc:sldChg>
      <pc:sldChg chg="addSp modSp add modAnim">
        <pc:chgData name="Renata Festa" userId="6f22df47-533b-4c2a-a3c1-7f9ad1d63e10" providerId="ADAL" clId="{9DC626FE-C7F5-4FBF-A904-9A2AB758E0DD}" dt="2020-03-25T12:24:12.033" v="480"/>
        <pc:sldMkLst>
          <pc:docMk/>
          <pc:sldMk cId="2796710665" sldId="630"/>
        </pc:sldMkLst>
        <pc:spChg chg="mod">
          <ac:chgData name="Renata Festa" userId="6f22df47-533b-4c2a-a3c1-7f9ad1d63e10" providerId="ADAL" clId="{9DC626FE-C7F5-4FBF-A904-9A2AB758E0DD}" dt="2020-03-25T12:23:37.337" v="477"/>
          <ac:spMkLst>
            <pc:docMk/>
            <pc:sldMk cId="2796710665" sldId="630"/>
            <ac:spMk id="2" creationId="{211E48F7-A4C3-4471-8C8C-4759EF7B8B35}"/>
          </ac:spMkLst>
        </pc:spChg>
        <pc:spChg chg="add">
          <ac:chgData name="Renata Festa" userId="6f22df47-533b-4c2a-a3c1-7f9ad1d63e10" providerId="ADAL" clId="{9DC626FE-C7F5-4FBF-A904-9A2AB758E0DD}" dt="2020-03-25T12:23:51.568" v="478"/>
          <ac:spMkLst>
            <pc:docMk/>
            <pc:sldMk cId="2796710665" sldId="630"/>
            <ac:spMk id="4" creationId="{FC51C268-A47C-426D-AA40-EFF448569AE6}"/>
          </ac:spMkLst>
        </pc:spChg>
        <pc:spChg chg="add">
          <ac:chgData name="Renata Festa" userId="6f22df47-533b-4c2a-a3c1-7f9ad1d63e10" providerId="ADAL" clId="{9DC626FE-C7F5-4FBF-A904-9A2AB758E0DD}" dt="2020-03-25T12:23:51.568" v="478"/>
          <ac:spMkLst>
            <pc:docMk/>
            <pc:sldMk cId="2796710665" sldId="630"/>
            <ac:spMk id="5" creationId="{0179ABA3-7682-4B5C-8BAA-A728A8F324F0}"/>
          </ac:spMkLst>
        </pc:spChg>
        <pc:spChg chg="add">
          <ac:chgData name="Renata Festa" userId="6f22df47-533b-4c2a-a3c1-7f9ad1d63e10" providerId="ADAL" clId="{9DC626FE-C7F5-4FBF-A904-9A2AB758E0DD}" dt="2020-03-25T12:23:51.568" v="478"/>
          <ac:spMkLst>
            <pc:docMk/>
            <pc:sldMk cId="2796710665" sldId="630"/>
            <ac:spMk id="7" creationId="{569C6E1B-26D7-4EDA-876D-4E2E2EE4C77A}"/>
          </ac:spMkLst>
        </pc:spChg>
        <pc:spChg chg="add">
          <ac:chgData name="Renata Festa" userId="6f22df47-533b-4c2a-a3c1-7f9ad1d63e10" providerId="ADAL" clId="{9DC626FE-C7F5-4FBF-A904-9A2AB758E0DD}" dt="2020-03-25T12:23:51.568" v="478"/>
          <ac:spMkLst>
            <pc:docMk/>
            <pc:sldMk cId="2796710665" sldId="630"/>
            <ac:spMk id="8" creationId="{29409091-5044-46DE-B949-41CD7CAFE140}"/>
          </ac:spMkLst>
        </pc:spChg>
        <pc:spChg chg="add">
          <ac:chgData name="Renata Festa" userId="6f22df47-533b-4c2a-a3c1-7f9ad1d63e10" providerId="ADAL" clId="{9DC626FE-C7F5-4FBF-A904-9A2AB758E0DD}" dt="2020-03-25T12:23:51.568" v="478"/>
          <ac:spMkLst>
            <pc:docMk/>
            <pc:sldMk cId="2796710665" sldId="630"/>
            <ac:spMk id="10" creationId="{4E9DED15-C0F3-4250-B8FB-204A32770BC8}"/>
          </ac:spMkLst>
        </pc:spChg>
        <pc:spChg chg="add">
          <ac:chgData name="Renata Festa" userId="6f22df47-533b-4c2a-a3c1-7f9ad1d63e10" providerId="ADAL" clId="{9DC626FE-C7F5-4FBF-A904-9A2AB758E0DD}" dt="2020-03-25T12:23:51.568" v="478"/>
          <ac:spMkLst>
            <pc:docMk/>
            <pc:sldMk cId="2796710665" sldId="630"/>
            <ac:spMk id="11" creationId="{2EC9F3C0-7727-48A5-B771-C3568D3DF9E5}"/>
          </ac:spMkLst>
        </pc:spChg>
        <pc:spChg chg="add">
          <ac:chgData name="Renata Festa" userId="6f22df47-533b-4c2a-a3c1-7f9ad1d63e10" providerId="ADAL" clId="{9DC626FE-C7F5-4FBF-A904-9A2AB758E0DD}" dt="2020-03-25T12:23:51.568" v="478"/>
          <ac:spMkLst>
            <pc:docMk/>
            <pc:sldMk cId="2796710665" sldId="630"/>
            <ac:spMk id="12" creationId="{2D65DC8A-90AA-4E9B-BA5C-A64C5D8DFBBC}"/>
          </ac:spMkLst>
        </pc:spChg>
        <pc:spChg chg="add">
          <ac:chgData name="Renata Festa" userId="6f22df47-533b-4c2a-a3c1-7f9ad1d63e10" providerId="ADAL" clId="{9DC626FE-C7F5-4FBF-A904-9A2AB758E0DD}" dt="2020-03-25T12:23:51.568" v="478"/>
          <ac:spMkLst>
            <pc:docMk/>
            <pc:sldMk cId="2796710665" sldId="630"/>
            <ac:spMk id="13" creationId="{92BAFC1C-F5EC-47C2-BC22-20C73EF6DC87}"/>
          </ac:spMkLst>
        </pc:spChg>
        <pc:grpChg chg="add mod">
          <ac:chgData name="Renata Festa" userId="6f22df47-533b-4c2a-a3c1-7f9ad1d63e10" providerId="ADAL" clId="{9DC626FE-C7F5-4FBF-A904-9A2AB758E0DD}" dt="2020-03-25T12:23:51.568" v="478"/>
          <ac:grpSpMkLst>
            <pc:docMk/>
            <pc:sldMk cId="2796710665" sldId="630"/>
            <ac:grpSpMk id="6" creationId="{E1EBDFD6-59BD-40C1-AABB-3F2B3E09D2B2}"/>
          </ac:grpSpMkLst>
        </pc:grpChg>
        <pc:grpChg chg="add mod">
          <ac:chgData name="Renata Festa" userId="6f22df47-533b-4c2a-a3c1-7f9ad1d63e10" providerId="ADAL" clId="{9DC626FE-C7F5-4FBF-A904-9A2AB758E0DD}" dt="2020-03-25T12:23:51.568" v="478"/>
          <ac:grpSpMkLst>
            <pc:docMk/>
            <pc:sldMk cId="2796710665" sldId="630"/>
            <ac:grpSpMk id="9" creationId="{F2852587-71E5-4FB9-A506-8FE3CB681820}"/>
          </ac:grpSpMkLst>
        </pc:grpChg>
      </pc:sldChg>
      <pc:sldChg chg="addSp modSp add modAnim">
        <pc:chgData name="Renata Festa" userId="6f22df47-533b-4c2a-a3c1-7f9ad1d63e10" providerId="ADAL" clId="{9DC626FE-C7F5-4FBF-A904-9A2AB758E0DD}" dt="2020-03-25T12:24:42.115" v="482"/>
        <pc:sldMkLst>
          <pc:docMk/>
          <pc:sldMk cId="3917194454" sldId="631"/>
        </pc:sldMkLst>
        <pc:spChg chg="mod">
          <ac:chgData name="Renata Festa" userId="6f22df47-533b-4c2a-a3c1-7f9ad1d63e10" providerId="ADAL" clId="{9DC626FE-C7F5-4FBF-A904-9A2AB758E0DD}" dt="2020-03-25T12:24:27.101" v="481"/>
          <ac:spMkLst>
            <pc:docMk/>
            <pc:sldMk cId="3917194454" sldId="631"/>
            <ac:spMk id="2" creationId="{211E48F7-A4C3-4471-8C8C-4759EF7B8B35}"/>
          </ac:spMkLst>
        </pc:spChg>
        <pc:graphicFrameChg chg="add">
          <ac:chgData name="Renata Festa" userId="6f22df47-533b-4c2a-a3c1-7f9ad1d63e10" providerId="ADAL" clId="{9DC626FE-C7F5-4FBF-A904-9A2AB758E0DD}" dt="2020-03-25T12:24:42.115" v="482"/>
          <ac:graphicFrameMkLst>
            <pc:docMk/>
            <pc:sldMk cId="3917194454" sldId="631"/>
            <ac:graphicFrameMk id="4" creationId="{49658F28-6844-436F-9F9D-BF147B70B8B8}"/>
          </ac:graphicFrameMkLst>
        </pc:graphicFrameChg>
      </pc:sldChg>
      <pc:sldChg chg="addSp delSp modSp add">
        <pc:chgData name="Renata Festa" userId="6f22df47-533b-4c2a-a3c1-7f9ad1d63e10" providerId="ADAL" clId="{9DC626FE-C7F5-4FBF-A904-9A2AB758E0DD}" dt="2020-03-25T12:25:36.946" v="492" actId="12091"/>
        <pc:sldMkLst>
          <pc:docMk/>
          <pc:sldMk cId="930357219" sldId="632"/>
        </pc:sldMkLst>
        <pc:spChg chg="mod">
          <ac:chgData name="Renata Festa" userId="6f22df47-533b-4c2a-a3c1-7f9ad1d63e10" providerId="ADAL" clId="{9DC626FE-C7F5-4FBF-A904-9A2AB758E0DD}" dt="2020-03-25T12:25:08.044" v="483"/>
          <ac:spMkLst>
            <pc:docMk/>
            <pc:sldMk cId="930357219" sldId="632"/>
            <ac:spMk id="2" creationId="{211E48F7-A4C3-4471-8C8C-4759EF7B8B35}"/>
          </ac:spMkLst>
        </pc:spChg>
        <pc:spChg chg="del mod">
          <ac:chgData name="Renata Festa" userId="6f22df47-533b-4c2a-a3c1-7f9ad1d63e10" providerId="ADAL" clId="{9DC626FE-C7F5-4FBF-A904-9A2AB758E0DD}" dt="2020-03-25T12:25:28.368" v="485" actId="12084"/>
          <ac:spMkLst>
            <pc:docMk/>
            <pc:sldMk cId="930357219" sldId="632"/>
            <ac:spMk id="3" creationId="{7EC492B1-CA18-4AEC-B486-A1D60C0F6202}"/>
          </ac:spMkLst>
        </pc:spChg>
        <pc:graphicFrameChg chg="add mod">
          <ac:chgData name="Renata Festa" userId="6f22df47-533b-4c2a-a3c1-7f9ad1d63e10" providerId="ADAL" clId="{9DC626FE-C7F5-4FBF-A904-9A2AB758E0DD}" dt="2020-03-25T12:25:36.946" v="492" actId="12091"/>
          <ac:graphicFrameMkLst>
            <pc:docMk/>
            <pc:sldMk cId="930357219" sldId="632"/>
            <ac:graphicFrameMk id="4" creationId="{0F433426-1A58-49CD-AA31-00AD90106957}"/>
          </ac:graphicFrameMkLst>
        </pc:graphicFrameChg>
      </pc:sldChg>
      <pc:sldChg chg="addSp modSp add mod modAnim">
        <pc:chgData name="Renata Festa" userId="6f22df47-533b-4c2a-a3c1-7f9ad1d63e10" providerId="ADAL" clId="{9DC626FE-C7F5-4FBF-A904-9A2AB758E0DD}" dt="2020-03-25T12:26:43.845" v="496" actId="14100"/>
        <pc:sldMkLst>
          <pc:docMk/>
          <pc:sldMk cId="2812505108" sldId="633"/>
        </pc:sldMkLst>
        <pc:spChg chg="mod">
          <ac:chgData name="Renata Festa" userId="6f22df47-533b-4c2a-a3c1-7f9ad1d63e10" providerId="ADAL" clId="{9DC626FE-C7F5-4FBF-A904-9A2AB758E0DD}" dt="2020-03-25T12:26:06.434" v="493"/>
          <ac:spMkLst>
            <pc:docMk/>
            <pc:sldMk cId="2812505108" sldId="633"/>
            <ac:spMk id="2" creationId="{211E48F7-A4C3-4471-8C8C-4759EF7B8B35}"/>
          </ac:spMkLst>
        </pc:spChg>
        <pc:graphicFrameChg chg="add mod">
          <ac:chgData name="Renata Festa" userId="6f22df47-533b-4c2a-a3c1-7f9ad1d63e10" providerId="ADAL" clId="{9DC626FE-C7F5-4FBF-A904-9A2AB758E0DD}" dt="2020-03-25T12:26:43.845" v="496" actId="14100"/>
          <ac:graphicFrameMkLst>
            <pc:docMk/>
            <pc:sldMk cId="2812505108" sldId="633"/>
            <ac:graphicFrameMk id="4" creationId="{F7D47CF4-BC42-4583-BB8C-CC9573DA95F8}"/>
          </ac:graphicFrameMkLst>
        </pc:graphicFrameChg>
      </pc:sldChg>
      <pc:sldChg chg="addSp modSp add mod">
        <pc:chgData name="Renata Festa" userId="6f22df47-533b-4c2a-a3c1-7f9ad1d63e10" providerId="ADAL" clId="{9DC626FE-C7F5-4FBF-A904-9A2AB758E0DD}" dt="2020-03-25T12:27:20.752" v="506" actId="14100"/>
        <pc:sldMkLst>
          <pc:docMk/>
          <pc:sldMk cId="2693613972" sldId="634"/>
        </pc:sldMkLst>
        <pc:spChg chg="mod">
          <ac:chgData name="Renata Festa" userId="6f22df47-533b-4c2a-a3c1-7f9ad1d63e10" providerId="ADAL" clId="{9DC626FE-C7F5-4FBF-A904-9A2AB758E0DD}" dt="2020-03-25T12:26:59.647" v="500" actId="20577"/>
          <ac:spMkLst>
            <pc:docMk/>
            <pc:sldMk cId="2693613972" sldId="634"/>
            <ac:spMk id="2" creationId="{211E48F7-A4C3-4471-8C8C-4759EF7B8B35}"/>
          </ac:spMkLst>
        </pc:spChg>
        <pc:graphicFrameChg chg="add mod modGraphic">
          <ac:chgData name="Renata Festa" userId="6f22df47-533b-4c2a-a3c1-7f9ad1d63e10" providerId="ADAL" clId="{9DC626FE-C7F5-4FBF-A904-9A2AB758E0DD}" dt="2020-03-25T12:27:20.752" v="506" actId="14100"/>
          <ac:graphicFrameMkLst>
            <pc:docMk/>
            <pc:sldMk cId="2693613972" sldId="634"/>
            <ac:graphicFrameMk id="4" creationId="{837F1BFF-0A6B-4138-A673-2EE201E7B1B7}"/>
          </ac:graphicFrameMkLst>
        </pc:graphicFrameChg>
      </pc:sldChg>
      <pc:sldChg chg="modSp add">
        <pc:chgData name="Renata Festa" userId="6f22df47-533b-4c2a-a3c1-7f9ad1d63e10" providerId="ADAL" clId="{9DC626FE-C7F5-4FBF-A904-9A2AB758E0DD}" dt="2020-03-25T12:23:25.670" v="476"/>
        <pc:sldMkLst>
          <pc:docMk/>
          <pc:sldMk cId="818007811" sldId="635"/>
        </pc:sldMkLst>
        <pc:spChg chg="mod">
          <ac:chgData name="Renata Festa" userId="6f22df47-533b-4c2a-a3c1-7f9ad1d63e10" providerId="ADAL" clId="{9DC626FE-C7F5-4FBF-A904-9A2AB758E0DD}" dt="2020-03-25T12:23:21.977" v="475"/>
          <ac:spMkLst>
            <pc:docMk/>
            <pc:sldMk cId="818007811" sldId="635"/>
            <ac:spMk id="2" creationId="{BC57B38C-8413-4861-A4F5-7DF656AEAD0D}"/>
          </ac:spMkLst>
        </pc:spChg>
        <pc:spChg chg="mod">
          <ac:chgData name="Renata Festa" userId="6f22df47-533b-4c2a-a3c1-7f9ad1d63e10" providerId="ADAL" clId="{9DC626FE-C7F5-4FBF-A904-9A2AB758E0DD}" dt="2020-03-25T12:23:25.670" v="476"/>
          <ac:spMkLst>
            <pc:docMk/>
            <pc:sldMk cId="818007811" sldId="635"/>
            <ac:spMk id="3" creationId="{4897B8F8-26DF-42FB-ACB0-59929F1C2344}"/>
          </ac:spMkLst>
        </pc:spChg>
      </pc:sldChg>
      <pc:sldChg chg="addSp delSp modSp add mod modAnim">
        <pc:chgData name="Renata Festa" userId="6f22df47-533b-4c2a-a3c1-7f9ad1d63e10" providerId="ADAL" clId="{9DC626FE-C7F5-4FBF-A904-9A2AB758E0DD}" dt="2020-03-25T12:33:40.514" v="589"/>
        <pc:sldMkLst>
          <pc:docMk/>
          <pc:sldMk cId="896717437" sldId="636"/>
        </pc:sldMkLst>
        <pc:spChg chg="add del mod">
          <ac:chgData name="Renata Festa" userId="6f22df47-533b-4c2a-a3c1-7f9ad1d63e10" providerId="ADAL" clId="{9DC626FE-C7F5-4FBF-A904-9A2AB758E0DD}" dt="2020-03-25T12:31:51.166" v="548" actId="12084"/>
          <ac:spMkLst>
            <pc:docMk/>
            <pc:sldMk cId="896717437" sldId="636"/>
            <ac:spMk id="3" creationId="{AF2BC6E5-6900-4737-9216-9E689A25A0E1}"/>
          </ac:spMkLst>
        </pc:spChg>
        <pc:spChg chg="mod">
          <ac:chgData name="Renata Festa" userId="6f22df47-533b-4c2a-a3c1-7f9ad1d63e10" providerId="ADAL" clId="{9DC626FE-C7F5-4FBF-A904-9A2AB758E0DD}" dt="2020-03-25T12:30:01.299" v="536" actId="20577"/>
          <ac:spMkLst>
            <pc:docMk/>
            <pc:sldMk cId="896717437" sldId="636"/>
            <ac:spMk id="5" creationId="{0A84ED15-ABB9-495A-8A03-3A131DE88582}"/>
          </ac:spMkLst>
        </pc:spChg>
        <pc:spChg chg="del mod">
          <ac:chgData name="Renata Festa" userId="6f22df47-533b-4c2a-a3c1-7f9ad1d63e10" providerId="ADAL" clId="{9DC626FE-C7F5-4FBF-A904-9A2AB758E0DD}" dt="2020-03-25T12:30:54.644" v="544" actId="12084"/>
          <ac:spMkLst>
            <pc:docMk/>
            <pc:sldMk cId="896717437" sldId="636"/>
            <ac:spMk id="6" creationId="{DEC5E2FA-C85E-4BA5-AC0A-6C253DB5106B}"/>
          </ac:spMkLst>
        </pc:spChg>
        <pc:graphicFrameChg chg="add del mod">
          <ac:chgData name="Renata Festa" userId="6f22df47-533b-4c2a-a3c1-7f9ad1d63e10" providerId="ADAL" clId="{9DC626FE-C7F5-4FBF-A904-9A2AB758E0DD}" dt="2020-03-25T12:31:18.825" v="545" actId="11529"/>
          <ac:graphicFrameMkLst>
            <pc:docMk/>
            <pc:sldMk cId="896717437" sldId="636"/>
            <ac:graphicFrameMk id="2" creationId="{E29FCF8C-DBE5-4A5E-8DFF-E1DA0398D803}"/>
          </ac:graphicFrameMkLst>
        </pc:graphicFrameChg>
        <pc:graphicFrameChg chg="add mod">
          <ac:chgData name="Renata Festa" userId="6f22df47-533b-4c2a-a3c1-7f9ad1d63e10" providerId="ADAL" clId="{9DC626FE-C7F5-4FBF-A904-9A2AB758E0DD}" dt="2020-03-25T12:33:23.041" v="587" actId="404"/>
          <ac:graphicFrameMkLst>
            <pc:docMk/>
            <pc:sldMk cId="896717437" sldId="636"/>
            <ac:graphicFrameMk id="7" creationId="{8609A548-C888-4283-8BB1-1C27A8601CFE}"/>
          </ac:graphicFrameMkLst>
        </pc:graphicFrameChg>
        <pc:picChg chg="add mod">
          <ac:chgData name="Renata Festa" userId="6f22df47-533b-4c2a-a3c1-7f9ad1d63e10" providerId="ADAL" clId="{9DC626FE-C7F5-4FBF-A904-9A2AB758E0DD}" dt="2020-03-25T12:30:36.470" v="543" actId="1076"/>
          <ac:picMkLst>
            <pc:docMk/>
            <pc:sldMk cId="896717437" sldId="636"/>
            <ac:picMk id="4" creationId="{0F29210E-2A6E-4B15-B327-C98021D0CACC}"/>
          </ac:picMkLst>
        </pc:picChg>
      </pc:sldChg>
      <pc:sldChg chg="add del">
        <pc:chgData name="Renata Festa" userId="6f22df47-533b-4c2a-a3c1-7f9ad1d63e10" providerId="ADAL" clId="{9DC626FE-C7F5-4FBF-A904-9A2AB758E0DD}" dt="2020-03-25T12:27:30.966" v="507" actId="47"/>
        <pc:sldMkLst>
          <pc:docMk/>
          <pc:sldMk cId="2560632284" sldId="636"/>
        </pc:sldMkLst>
      </pc:sldChg>
      <pc:sldChg chg="addSp delSp modSp add mod modAnim">
        <pc:chgData name="Renata Festa" userId="6f22df47-533b-4c2a-a3c1-7f9ad1d63e10" providerId="ADAL" clId="{9DC626FE-C7F5-4FBF-A904-9A2AB758E0DD}" dt="2020-03-25T16:59:27.740" v="704" actId="12090"/>
        <pc:sldMkLst>
          <pc:docMk/>
          <pc:sldMk cId="494521196" sldId="637"/>
        </pc:sldMkLst>
        <pc:spChg chg="mod">
          <ac:chgData name="Renata Festa" userId="6f22df47-533b-4c2a-a3c1-7f9ad1d63e10" providerId="ADAL" clId="{9DC626FE-C7F5-4FBF-A904-9A2AB758E0DD}" dt="2020-03-25T16:53:13.810" v="590"/>
          <ac:spMkLst>
            <pc:docMk/>
            <pc:sldMk cId="494521196" sldId="637"/>
            <ac:spMk id="5" creationId="{0A84ED15-ABB9-495A-8A03-3A131DE88582}"/>
          </ac:spMkLst>
        </pc:spChg>
        <pc:spChg chg="add del mod">
          <ac:chgData name="Renata Festa" userId="6f22df47-533b-4c2a-a3c1-7f9ad1d63e10" providerId="ADAL" clId="{9DC626FE-C7F5-4FBF-A904-9A2AB758E0DD}" dt="2020-03-25T16:58:02.290" v="688" actId="12084"/>
          <ac:spMkLst>
            <pc:docMk/>
            <pc:sldMk cId="494521196" sldId="637"/>
            <ac:spMk id="6" creationId="{DEC5E2FA-C85E-4BA5-AC0A-6C253DB5106B}"/>
          </ac:spMkLst>
        </pc:spChg>
        <pc:graphicFrameChg chg="add del mod">
          <ac:chgData name="Renata Festa" userId="6f22df47-533b-4c2a-a3c1-7f9ad1d63e10" providerId="ADAL" clId="{9DC626FE-C7F5-4FBF-A904-9A2AB758E0DD}" dt="2020-03-25T16:57:44.246" v="686" actId="12084"/>
          <ac:graphicFrameMkLst>
            <pc:docMk/>
            <pc:sldMk cId="494521196" sldId="637"/>
            <ac:graphicFrameMk id="2" creationId="{EF38A346-54B2-4B96-AF15-B1FE23CA2B1B}"/>
          </ac:graphicFrameMkLst>
        </pc:graphicFrameChg>
        <pc:graphicFrameChg chg="add mod">
          <ac:chgData name="Renata Festa" userId="6f22df47-533b-4c2a-a3c1-7f9ad1d63e10" providerId="ADAL" clId="{9DC626FE-C7F5-4FBF-A904-9A2AB758E0DD}" dt="2020-03-25T16:59:27.740" v="704" actId="12090"/>
          <ac:graphicFrameMkLst>
            <pc:docMk/>
            <pc:sldMk cId="494521196" sldId="637"/>
            <ac:graphicFrameMk id="3" creationId="{27B8C08B-01C9-40E4-A959-C75413CB4937}"/>
          </ac:graphicFrameMkLst>
        </pc:graphicFrameChg>
      </pc:sldChg>
      <pc:sldChg chg="add del">
        <pc:chgData name="Renata Festa" userId="6f22df47-533b-4c2a-a3c1-7f9ad1d63e10" providerId="ADAL" clId="{9DC626FE-C7F5-4FBF-A904-9A2AB758E0DD}" dt="2020-03-25T12:27:31.327" v="508" actId="47"/>
        <pc:sldMkLst>
          <pc:docMk/>
          <pc:sldMk cId="3390129883" sldId="637"/>
        </pc:sldMkLst>
      </pc:sldChg>
      <pc:sldChg chg="addSp delSp modSp add mod">
        <pc:chgData name="Renata Festa" userId="6f22df47-533b-4c2a-a3c1-7f9ad1d63e10" providerId="ADAL" clId="{9DC626FE-C7F5-4FBF-A904-9A2AB758E0DD}" dt="2020-03-25T17:01:34.125" v="777" actId="20577"/>
        <pc:sldMkLst>
          <pc:docMk/>
          <pc:sldMk cId="815604796" sldId="638"/>
        </pc:sldMkLst>
        <pc:spChg chg="mod">
          <ac:chgData name="Renata Festa" userId="6f22df47-533b-4c2a-a3c1-7f9ad1d63e10" providerId="ADAL" clId="{9DC626FE-C7F5-4FBF-A904-9A2AB758E0DD}" dt="2020-03-25T17:01:10.860" v="745" actId="20577"/>
          <ac:spMkLst>
            <pc:docMk/>
            <pc:sldMk cId="815604796" sldId="638"/>
            <ac:spMk id="2" creationId="{A4F7978F-9845-41F7-B950-A076D70F7A52}"/>
          </ac:spMkLst>
        </pc:spChg>
        <pc:spChg chg="del">
          <ac:chgData name="Renata Festa" userId="6f22df47-533b-4c2a-a3c1-7f9ad1d63e10" providerId="ADAL" clId="{9DC626FE-C7F5-4FBF-A904-9A2AB758E0DD}" dt="2020-03-25T17:01:22.449" v="746" actId="12084"/>
          <ac:spMkLst>
            <pc:docMk/>
            <pc:sldMk cId="815604796" sldId="638"/>
            <ac:spMk id="3" creationId="{859B2BAE-A383-4E74-B3CF-9AC64DA11727}"/>
          </ac:spMkLst>
        </pc:spChg>
        <pc:graphicFrameChg chg="add mod">
          <ac:chgData name="Renata Festa" userId="6f22df47-533b-4c2a-a3c1-7f9ad1d63e10" providerId="ADAL" clId="{9DC626FE-C7F5-4FBF-A904-9A2AB758E0DD}" dt="2020-03-25T17:01:34.125" v="777" actId="20577"/>
          <ac:graphicFrameMkLst>
            <pc:docMk/>
            <pc:sldMk cId="815604796" sldId="638"/>
            <ac:graphicFrameMk id="4" creationId="{233B4DBA-9A48-44B9-9ED6-D4E38E955F14}"/>
          </ac:graphicFrameMkLst>
        </pc:graphicFrameChg>
      </pc:sldChg>
      <pc:sldChg chg="add del">
        <pc:chgData name="Renata Festa" userId="6f22df47-533b-4c2a-a3c1-7f9ad1d63e10" providerId="ADAL" clId="{9DC626FE-C7F5-4FBF-A904-9A2AB758E0DD}" dt="2020-03-25T16:59:41.019" v="705" actId="47"/>
        <pc:sldMkLst>
          <pc:docMk/>
          <pc:sldMk cId="3598523084" sldId="638"/>
        </pc:sldMkLst>
      </pc:sldChg>
    </pc:docChg>
  </pc:docChgLst>
  <pc:docChgLst>
    <pc:chgData name="Renata Festa" userId="6f22df47-533b-4c2a-a3c1-7f9ad1d63e10" providerId="ADAL" clId="{9FA970DD-58CF-4FFE-B2BE-6E401DAF5270}"/>
    <pc:docChg chg="addSld modSld">
      <pc:chgData name="Renata Festa" userId="6f22df47-533b-4c2a-a3c1-7f9ad1d63e10" providerId="ADAL" clId="{9FA970DD-58CF-4FFE-B2BE-6E401DAF5270}" dt="2020-03-31T12:14:52.262" v="9" actId="1076"/>
      <pc:docMkLst>
        <pc:docMk/>
      </pc:docMkLst>
      <pc:sldChg chg="addSp modSp mod modAnim">
        <pc:chgData name="Renata Festa" userId="6f22df47-533b-4c2a-a3c1-7f9ad1d63e10" providerId="ADAL" clId="{9FA970DD-58CF-4FFE-B2BE-6E401DAF5270}" dt="2020-03-31T12:14:52.262" v="9" actId="1076"/>
        <pc:sldMkLst>
          <pc:docMk/>
          <pc:sldMk cId="494521196" sldId="637"/>
        </pc:sldMkLst>
        <pc:spChg chg="add mod">
          <ac:chgData name="Renata Festa" userId="6f22df47-533b-4c2a-a3c1-7f9ad1d63e10" providerId="ADAL" clId="{9FA970DD-58CF-4FFE-B2BE-6E401DAF5270}" dt="2020-03-31T12:14:52.262" v="9" actId="1076"/>
          <ac:spMkLst>
            <pc:docMk/>
            <pc:sldMk cId="494521196" sldId="637"/>
            <ac:spMk id="4" creationId="{75FAA6F0-AC46-489E-88C7-2F5B6A6C63FC}"/>
          </ac:spMkLst>
        </pc:spChg>
      </pc:sldChg>
      <pc:sldChg chg="modSp add mod">
        <pc:chgData name="Renata Festa" userId="6f22df47-533b-4c2a-a3c1-7f9ad1d63e10" providerId="ADAL" clId="{9FA970DD-58CF-4FFE-B2BE-6E401DAF5270}" dt="2020-03-31T12:11:54.535" v="7" actId="404"/>
        <pc:sldMkLst>
          <pc:docMk/>
          <pc:sldMk cId="1285512603" sldId="639"/>
        </pc:sldMkLst>
        <pc:spChg chg="mod">
          <ac:chgData name="Renata Festa" userId="6f22df47-533b-4c2a-a3c1-7f9ad1d63e10" providerId="ADAL" clId="{9FA970DD-58CF-4FFE-B2BE-6E401DAF5270}" dt="2020-03-31T12:11:38.422" v="1"/>
          <ac:spMkLst>
            <pc:docMk/>
            <pc:sldMk cId="1285512603" sldId="639"/>
            <ac:spMk id="2" creationId="{BC57B38C-8413-4861-A4F5-7DF656AEAD0D}"/>
          </ac:spMkLst>
        </pc:spChg>
        <pc:spChg chg="mod">
          <ac:chgData name="Renata Festa" userId="6f22df47-533b-4c2a-a3c1-7f9ad1d63e10" providerId="ADAL" clId="{9FA970DD-58CF-4FFE-B2BE-6E401DAF5270}" dt="2020-03-31T12:11:54.535" v="7" actId="404"/>
          <ac:spMkLst>
            <pc:docMk/>
            <pc:sldMk cId="1285512603" sldId="639"/>
            <ac:spMk id="3" creationId="{4897B8F8-26DF-42FB-ACB0-59929F1C2344}"/>
          </ac:spMkLst>
        </pc:spChg>
      </pc:sldChg>
    </pc:docChg>
  </pc:docChgLst>
  <pc:docChgLst>
    <pc:chgData name="Batuhan Yildiz" userId="90f344fc-4655-4923-aeaf-697bba59c1a7" providerId="ADAL" clId="{CA082B49-457A-4188-BE92-6C211BDE34B2}"/>
    <pc:docChg chg="undo custSel modSld">
      <pc:chgData name="Batuhan Yildiz" userId="90f344fc-4655-4923-aeaf-697bba59c1a7" providerId="ADAL" clId="{CA082B49-457A-4188-BE92-6C211BDE34B2}" dt="2020-05-19T22:13:46.157" v="85" actId="12100"/>
      <pc:docMkLst>
        <pc:docMk/>
      </pc:docMkLst>
      <pc:sldChg chg="modNotesTx">
        <pc:chgData name="Batuhan Yildiz" userId="90f344fc-4655-4923-aeaf-697bba59c1a7" providerId="ADAL" clId="{CA082B49-457A-4188-BE92-6C211BDE34B2}" dt="2020-05-01T00:38:54.202" v="20" actId="113"/>
        <pc:sldMkLst>
          <pc:docMk/>
          <pc:sldMk cId="3841611615" sldId="531"/>
        </pc:sldMkLst>
      </pc:sldChg>
      <pc:sldChg chg="modSp">
        <pc:chgData name="Batuhan Yildiz" userId="90f344fc-4655-4923-aeaf-697bba59c1a7" providerId="ADAL" clId="{CA082B49-457A-4188-BE92-6C211BDE34B2}" dt="2020-05-19T22:07:27.745" v="35" actId="255"/>
        <pc:sldMkLst>
          <pc:docMk/>
          <pc:sldMk cId="3735096506" sldId="563"/>
        </pc:sldMkLst>
        <pc:graphicFrameChg chg="mod">
          <ac:chgData name="Batuhan Yildiz" userId="90f344fc-4655-4923-aeaf-697bba59c1a7" providerId="ADAL" clId="{CA082B49-457A-4188-BE92-6C211BDE34B2}" dt="2020-05-19T22:07:27.745" v="35" actId="255"/>
          <ac:graphicFrameMkLst>
            <pc:docMk/>
            <pc:sldMk cId="3735096506" sldId="563"/>
            <ac:graphicFrameMk id="3" creationId="{9484E1FE-7534-495E-863C-657A46F5E628}"/>
          </ac:graphicFrameMkLst>
        </pc:graphicFrameChg>
      </pc:sldChg>
      <pc:sldChg chg="modSp">
        <pc:chgData name="Batuhan Yildiz" userId="90f344fc-4655-4923-aeaf-697bba59c1a7" providerId="ADAL" clId="{CA082B49-457A-4188-BE92-6C211BDE34B2}" dt="2020-05-19T22:13:07.486" v="81" actId="255"/>
        <pc:sldMkLst>
          <pc:docMk/>
          <pc:sldMk cId="3819752479" sldId="580"/>
        </pc:sldMkLst>
        <pc:graphicFrameChg chg="mod">
          <ac:chgData name="Batuhan Yildiz" userId="90f344fc-4655-4923-aeaf-697bba59c1a7" providerId="ADAL" clId="{CA082B49-457A-4188-BE92-6C211BDE34B2}" dt="2020-05-19T22:13:07.486" v="81" actId="255"/>
          <ac:graphicFrameMkLst>
            <pc:docMk/>
            <pc:sldMk cId="3819752479" sldId="580"/>
            <ac:graphicFrameMk id="7" creationId="{1767E969-95E0-4490-B36A-DD7E44648359}"/>
          </ac:graphicFrameMkLst>
        </pc:graphicFrameChg>
      </pc:sldChg>
      <pc:sldChg chg="modSp">
        <pc:chgData name="Batuhan Yildiz" userId="90f344fc-4655-4923-aeaf-697bba59c1a7" providerId="ADAL" clId="{CA082B49-457A-4188-BE92-6C211BDE34B2}" dt="2020-05-19T22:13:38.557" v="84" actId="255"/>
        <pc:sldMkLst>
          <pc:docMk/>
          <pc:sldMk cId="2092846825" sldId="584"/>
        </pc:sldMkLst>
        <pc:graphicFrameChg chg="mod">
          <ac:chgData name="Batuhan Yildiz" userId="90f344fc-4655-4923-aeaf-697bba59c1a7" providerId="ADAL" clId="{CA082B49-457A-4188-BE92-6C211BDE34B2}" dt="2020-05-19T22:13:38.557" v="84" actId="255"/>
          <ac:graphicFrameMkLst>
            <pc:docMk/>
            <pc:sldMk cId="2092846825" sldId="584"/>
            <ac:graphicFrameMk id="3" creationId="{9484E1FE-7534-495E-863C-657A46F5E628}"/>
          </ac:graphicFrameMkLst>
        </pc:graphicFrameChg>
      </pc:sldChg>
      <pc:sldChg chg="modSp">
        <pc:chgData name="Batuhan Yildiz" userId="90f344fc-4655-4923-aeaf-697bba59c1a7" providerId="ADAL" clId="{CA082B49-457A-4188-BE92-6C211BDE34B2}" dt="2020-05-19T22:04:53.913" v="21" actId="255"/>
        <pc:sldMkLst>
          <pc:docMk/>
          <pc:sldMk cId="306956093" sldId="611"/>
        </pc:sldMkLst>
        <pc:graphicFrameChg chg="mod">
          <ac:chgData name="Batuhan Yildiz" userId="90f344fc-4655-4923-aeaf-697bba59c1a7" providerId="ADAL" clId="{CA082B49-457A-4188-BE92-6C211BDE34B2}" dt="2020-05-19T22:04:53.913" v="21" actId="255"/>
          <ac:graphicFrameMkLst>
            <pc:docMk/>
            <pc:sldMk cId="306956093" sldId="611"/>
            <ac:graphicFrameMk id="6" creationId="{6609E0FD-FE6D-4ABA-833A-E4051D589540}"/>
          </ac:graphicFrameMkLst>
        </pc:graphicFrameChg>
      </pc:sldChg>
      <pc:sldChg chg="modSp">
        <pc:chgData name="Batuhan Yildiz" userId="90f344fc-4655-4923-aeaf-697bba59c1a7" providerId="ADAL" clId="{CA082B49-457A-4188-BE92-6C211BDE34B2}" dt="2020-05-19T22:06:52.662" v="32" actId="12100"/>
        <pc:sldMkLst>
          <pc:docMk/>
          <pc:sldMk cId="1386228708" sldId="612"/>
        </pc:sldMkLst>
        <pc:graphicFrameChg chg="mod">
          <ac:chgData name="Batuhan Yildiz" userId="90f344fc-4655-4923-aeaf-697bba59c1a7" providerId="ADAL" clId="{CA082B49-457A-4188-BE92-6C211BDE34B2}" dt="2020-05-19T22:06:46.738" v="31" actId="12100"/>
          <ac:graphicFrameMkLst>
            <pc:docMk/>
            <pc:sldMk cId="1386228708" sldId="612"/>
            <ac:graphicFrameMk id="10" creationId="{417DBFC5-4E56-44CE-9AC4-AC0734290384}"/>
          </ac:graphicFrameMkLst>
        </pc:graphicFrameChg>
        <pc:graphicFrameChg chg="mod">
          <ac:chgData name="Batuhan Yildiz" userId="90f344fc-4655-4923-aeaf-697bba59c1a7" providerId="ADAL" clId="{CA082B49-457A-4188-BE92-6C211BDE34B2}" dt="2020-05-19T22:06:52.662" v="32" actId="12100"/>
          <ac:graphicFrameMkLst>
            <pc:docMk/>
            <pc:sldMk cId="1386228708" sldId="612"/>
            <ac:graphicFrameMk id="11" creationId="{74904A73-2724-441B-8DB0-F187E4CF35D0}"/>
          </ac:graphicFrameMkLst>
        </pc:graphicFrameChg>
      </pc:sldChg>
      <pc:sldChg chg="modSp">
        <pc:chgData name="Batuhan Yildiz" userId="90f344fc-4655-4923-aeaf-697bba59c1a7" providerId="ADAL" clId="{CA082B49-457A-4188-BE92-6C211BDE34B2}" dt="2020-05-19T22:07:09.150" v="34" actId="12100"/>
        <pc:sldMkLst>
          <pc:docMk/>
          <pc:sldMk cId="2404043653" sldId="613"/>
        </pc:sldMkLst>
        <pc:graphicFrameChg chg="mod">
          <ac:chgData name="Batuhan Yildiz" userId="90f344fc-4655-4923-aeaf-697bba59c1a7" providerId="ADAL" clId="{CA082B49-457A-4188-BE92-6C211BDE34B2}" dt="2020-05-19T22:07:09.150" v="34" actId="12100"/>
          <ac:graphicFrameMkLst>
            <pc:docMk/>
            <pc:sldMk cId="2404043653" sldId="613"/>
            <ac:graphicFrameMk id="7" creationId="{22DF50A6-C784-4E8E-818D-CBB906A45B14}"/>
          </ac:graphicFrameMkLst>
        </pc:graphicFrameChg>
        <pc:graphicFrameChg chg="mod">
          <ac:chgData name="Batuhan Yildiz" userId="90f344fc-4655-4923-aeaf-697bba59c1a7" providerId="ADAL" clId="{CA082B49-457A-4188-BE92-6C211BDE34B2}" dt="2020-05-19T22:07:05.854" v="33" actId="12100"/>
          <ac:graphicFrameMkLst>
            <pc:docMk/>
            <pc:sldMk cId="2404043653" sldId="613"/>
            <ac:graphicFrameMk id="8" creationId="{EC5E0D05-65DD-4048-B0D6-5E237DBF1D39}"/>
          </ac:graphicFrameMkLst>
        </pc:graphicFrameChg>
      </pc:sldChg>
      <pc:sldChg chg="modSp">
        <pc:chgData name="Batuhan Yildiz" userId="90f344fc-4655-4923-aeaf-697bba59c1a7" providerId="ADAL" clId="{CA082B49-457A-4188-BE92-6C211BDE34B2}" dt="2020-05-19T22:08:11.467" v="42" actId="255"/>
        <pc:sldMkLst>
          <pc:docMk/>
          <pc:sldMk cId="3398736227" sldId="616"/>
        </pc:sldMkLst>
        <pc:graphicFrameChg chg="mod">
          <ac:chgData name="Batuhan Yildiz" userId="90f344fc-4655-4923-aeaf-697bba59c1a7" providerId="ADAL" clId="{CA082B49-457A-4188-BE92-6C211BDE34B2}" dt="2020-05-19T22:08:11.467" v="42" actId="255"/>
          <ac:graphicFrameMkLst>
            <pc:docMk/>
            <pc:sldMk cId="3398736227" sldId="616"/>
            <ac:graphicFrameMk id="5" creationId="{E45287CD-7850-4655-A12E-288B214D9518}"/>
          </ac:graphicFrameMkLst>
        </pc:graphicFrameChg>
      </pc:sldChg>
      <pc:sldChg chg="modSp">
        <pc:chgData name="Batuhan Yildiz" userId="90f344fc-4655-4923-aeaf-697bba59c1a7" providerId="ADAL" clId="{CA082B49-457A-4188-BE92-6C211BDE34B2}" dt="2020-05-19T22:08:57.580" v="49" actId="12100"/>
        <pc:sldMkLst>
          <pc:docMk/>
          <pc:sldMk cId="32275417" sldId="618"/>
        </pc:sldMkLst>
        <pc:graphicFrameChg chg="mod">
          <ac:chgData name="Batuhan Yildiz" userId="90f344fc-4655-4923-aeaf-697bba59c1a7" providerId="ADAL" clId="{CA082B49-457A-4188-BE92-6C211BDE34B2}" dt="2020-05-19T22:08:57.580" v="49" actId="12100"/>
          <ac:graphicFrameMkLst>
            <pc:docMk/>
            <pc:sldMk cId="32275417" sldId="618"/>
            <ac:graphicFrameMk id="5" creationId="{3ED871D8-C51E-45A6-9123-272AA70F089C}"/>
          </ac:graphicFrameMkLst>
        </pc:graphicFrameChg>
      </pc:sldChg>
      <pc:sldChg chg="modSp">
        <pc:chgData name="Batuhan Yildiz" userId="90f344fc-4655-4923-aeaf-697bba59c1a7" providerId="ADAL" clId="{CA082B49-457A-4188-BE92-6C211BDE34B2}" dt="2020-05-19T22:09:12.657" v="51" actId="255"/>
        <pc:sldMkLst>
          <pc:docMk/>
          <pc:sldMk cId="1913778146" sldId="619"/>
        </pc:sldMkLst>
        <pc:graphicFrameChg chg="mod">
          <ac:chgData name="Batuhan Yildiz" userId="90f344fc-4655-4923-aeaf-697bba59c1a7" providerId="ADAL" clId="{CA082B49-457A-4188-BE92-6C211BDE34B2}" dt="2020-05-19T22:09:12.657" v="51" actId="255"/>
          <ac:graphicFrameMkLst>
            <pc:docMk/>
            <pc:sldMk cId="1913778146" sldId="619"/>
            <ac:graphicFrameMk id="9" creationId="{FAC3A7AF-68B2-40C4-9219-29AFB53C5649}"/>
          </ac:graphicFrameMkLst>
        </pc:graphicFrameChg>
      </pc:sldChg>
      <pc:sldChg chg="modSp">
        <pc:chgData name="Batuhan Yildiz" userId="90f344fc-4655-4923-aeaf-697bba59c1a7" providerId="ADAL" clId="{CA082B49-457A-4188-BE92-6C211BDE34B2}" dt="2020-05-19T22:08:47.018" v="48" actId="255"/>
        <pc:sldMkLst>
          <pc:docMk/>
          <pc:sldMk cId="3029254507" sldId="625"/>
        </pc:sldMkLst>
        <pc:graphicFrameChg chg="mod">
          <ac:chgData name="Batuhan Yildiz" userId="90f344fc-4655-4923-aeaf-697bba59c1a7" providerId="ADAL" clId="{CA082B49-457A-4188-BE92-6C211BDE34B2}" dt="2020-05-19T22:08:47.018" v="48" actId="255"/>
          <ac:graphicFrameMkLst>
            <pc:docMk/>
            <pc:sldMk cId="3029254507" sldId="625"/>
            <ac:graphicFrameMk id="8" creationId="{4FD52D02-547A-4E62-A617-DE934C045434}"/>
          </ac:graphicFrameMkLst>
        </pc:graphicFrameChg>
      </pc:sldChg>
      <pc:sldChg chg="modSp">
        <pc:chgData name="Batuhan Yildiz" userId="90f344fc-4655-4923-aeaf-697bba59c1a7" providerId="ADAL" clId="{CA082B49-457A-4188-BE92-6C211BDE34B2}" dt="2020-05-19T22:10:55.419" v="52" actId="12100"/>
        <pc:sldMkLst>
          <pc:docMk/>
          <pc:sldMk cId="2811608349" sldId="626"/>
        </pc:sldMkLst>
        <pc:graphicFrameChg chg="mod">
          <ac:chgData name="Batuhan Yildiz" userId="90f344fc-4655-4923-aeaf-697bba59c1a7" providerId="ADAL" clId="{CA082B49-457A-4188-BE92-6C211BDE34B2}" dt="2020-05-19T22:10:55.419" v="52" actId="12100"/>
          <ac:graphicFrameMkLst>
            <pc:docMk/>
            <pc:sldMk cId="2811608349" sldId="626"/>
            <ac:graphicFrameMk id="6" creationId="{9B6CA25F-8695-4051-B21D-C110DEC44A1A}"/>
          </ac:graphicFrameMkLst>
        </pc:graphicFrameChg>
      </pc:sldChg>
      <pc:sldChg chg="modSp">
        <pc:chgData name="Batuhan Yildiz" userId="90f344fc-4655-4923-aeaf-697bba59c1a7" providerId="ADAL" clId="{CA082B49-457A-4188-BE92-6C211BDE34B2}" dt="2020-05-19T22:11:00.848" v="53" actId="12100"/>
        <pc:sldMkLst>
          <pc:docMk/>
          <pc:sldMk cId="3236194200" sldId="627"/>
        </pc:sldMkLst>
        <pc:graphicFrameChg chg="mod">
          <ac:chgData name="Batuhan Yildiz" userId="90f344fc-4655-4923-aeaf-697bba59c1a7" providerId="ADAL" clId="{CA082B49-457A-4188-BE92-6C211BDE34B2}" dt="2020-05-19T22:11:00.848" v="53" actId="12100"/>
          <ac:graphicFrameMkLst>
            <pc:docMk/>
            <pc:sldMk cId="3236194200" sldId="627"/>
            <ac:graphicFrameMk id="4" creationId="{032DE333-81A8-45DD-B994-D3460A86473B}"/>
          </ac:graphicFrameMkLst>
        </pc:graphicFrameChg>
      </pc:sldChg>
      <pc:sldChg chg="modSp mod">
        <pc:chgData name="Batuhan Yildiz" userId="90f344fc-4655-4923-aeaf-697bba59c1a7" providerId="ADAL" clId="{CA082B49-457A-4188-BE92-6C211BDE34B2}" dt="2020-05-19T22:11:13.367" v="54" actId="12385"/>
        <pc:sldMkLst>
          <pc:docMk/>
          <pc:sldMk cId="2427148105" sldId="628"/>
        </pc:sldMkLst>
        <pc:graphicFrameChg chg="modGraphic">
          <ac:chgData name="Batuhan Yildiz" userId="90f344fc-4655-4923-aeaf-697bba59c1a7" providerId="ADAL" clId="{CA082B49-457A-4188-BE92-6C211BDE34B2}" dt="2020-05-19T22:11:13.367" v="54" actId="12385"/>
          <ac:graphicFrameMkLst>
            <pc:docMk/>
            <pc:sldMk cId="2427148105" sldId="628"/>
            <ac:graphicFrameMk id="4" creationId="{378E54A6-E156-4102-85DC-94009EE3D922}"/>
          </ac:graphicFrameMkLst>
        </pc:graphicFrameChg>
      </pc:sldChg>
      <pc:sldChg chg="addSp delSp modSp mod chgLayout">
        <pc:chgData name="Batuhan Yildiz" userId="90f344fc-4655-4923-aeaf-697bba59c1a7" providerId="ADAL" clId="{CA082B49-457A-4188-BE92-6C211BDE34B2}" dt="2020-05-19T22:12:14.051" v="62" actId="478"/>
        <pc:sldMkLst>
          <pc:docMk/>
          <pc:sldMk cId="3321722661" sldId="629"/>
        </pc:sldMkLst>
        <pc:spChg chg="mod ord">
          <ac:chgData name="Batuhan Yildiz" userId="90f344fc-4655-4923-aeaf-697bba59c1a7" providerId="ADAL" clId="{CA082B49-457A-4188-BE92-6C211BDE34B2}" dt="2020-05-19T22:11:35.099" v="55" actId="700"/>
          <ac:spMkLst>
            <pc:docMk/>
            <pc:sldMk cId="3321722661" sldId="629"/>
            <ac:spMk id="2" creationId="{211E48F7-A4C3-4471-8C8C-4759EF7B8B35}"/>
          </ac:spMkLst>
        </pc:spChg>
        <pc:spChg chg="add del mod ord">
          <ac:chgData name="Batuhan Yildiz" userId="90f344fc-4655-4923-aeaf-697bba59c1a7" providerId="ADAL" clId="{CA082B49-457A-4188-BE92-6C211BDE34B2}" dt="2020-05-19T22:12:14.051" v="62" actId="478"/>
          <ac:spMkLst>
            <pc:docMk/>
            <pc:sldMk cId="3321722661" sldId="629"/>
            <ac:spMk id="3" creationId="{04ECFC40-D90B-44E7-A552-A565776481FF}"/>
          </ac:spMkLst>
        </pc:spChg>
        <pc:spChg chg="add del mod">
          <ac:chgData name="Batuhan Yildiz" userId="90f344fc-4655-4923-aeaf-697bba59c1a7" providerId="ADAL" clId="{CA082B49-457A-4188-BE92-6C211BDE34B2}" dt="2020-05-19T22:12:08.190" v="61" actId="478"/>
          <ac:spMkLst>
            <pc:docMk/>
            <pc:sldMk cId="3321722661" sldId="629"/>
            <ac:spMk id="7" creationId="{7EA075A2-2949-4BB0-AEDB-1BFC10444012}"/>
          </ac:spMkLst>
        </pc:spChg>
        <pc:graphicFrameChg chg="add del mod ord">
          <ac:chgData name="Batuhan Yildiz" userId="90f344fc-4655-4923-aeaf-697bba59c1a7" providerId="ADAL" clId="{CA082B49-457A-4188-BE92-6C211BDE34B2}" dt="2020-05-19T22:12:08.190" v="61" actId="478"/>
          <ac:graphicFrameMkLst>
            <pc:docMk/>
            <pc:sldMk cId="3321722661" sldId="629"/>
            <ac:graphicFrameMk id="5" creationId="{FF490BB0-C81D-429C-888D-1E9AE8F8C052}"/>
          </ac:graphicFrameMkLst>
        </pc:graphicFrameChg>
        <pc:picChg chg="mod">
          <ac:chgData name="Batuhan Yildiz" userId="90f344fc-4655-4923-aeaf-697bba59c1a7" providerId="ADAL" clId="{CA082B49-457A-4188-BE92-6C211BDE34B2}" dt="2020-05-19T22:11:45.883" v="56" actId="1076"/>
          <ac:picMkLst>
            <pc:docMk/>
            <pc:sldMk cId="3321722661" sldId="629"/>
            <ac:picMk id="4" creationId="{250117F8-0322-4F68-8181-2E4CE044A151}"/>
          </ac:picMkLst>
        </pc:picChg>
      </pc:sldChg>
      <pc:sldChg chg="modSp">
        <pc:chgData name="Batuhan Yildiz" userId="90f344fc-4655-4923-aeaf-697bba59c1a7" providerId="ADAL" clId="{CA082B49-457A-4188-BE92-6C211BDE34B2}" dt="2020-05-19T22:12:29.963" v="64" actId="255"/>
        <pc:sldMkLst>
          <pc:docMk/>
          <pc:sldMk cId="930357219" sldId="632"/>
        </pc:sldMkLst>
        <pc:graphicFrameChg chg="mod">
          <ac:chgData name="Batuhan Yildiz" userId="90f344fc-4655-4923-aeaf-697bba59c1a7" providerId="ADAL" clId="{CA082B49-457A-4188-BE92-6C211BDE34B2}" dt="2020-05-19T22:12:29.963" v="64" actId="255"/>
          <ac:graphicFrameMkLst>
            <pc:docMk/>
            <pc:sldMk cId="930357219" sldId="632"/>
            <ac:graphicFrameMk id="4" creationId="{0F433426-1A58-49CD-AA31-00AD90106957}"/>
          </ac:graphicFrameMkLst>
        </pc:graphicFrameChg>
      </pc:sldChg>
      <pc:sldChg chg="modSp mod">
        <pc:chgData name="Batuhan Yildiz" userId="90f344fc-4655-4923-aeaf-697bba59c1a7" providerId="ADAL" clId="{CA082B49-457A-4188-BE92-6C211BDE34B2}" dt="2020-05-19T22:12:49.437" v="79" actId="947"/>
        <pc:sldMkLst>
          <pc:docMk/>
          <pc:sldMk cId="2693613972" sldId="634"/>
        </pc:sldMkLst>
        <pc:graphicFrameChg chg="modGraphic">
          <ac:chgData name="Batuhan Yildiz" userId="90f344fc-4655-4923-aeaf-697bba59c1a7" providerId="ADAL" clId="{CA082B49-457A-4188-BE92-6C211BDE34B2}" dt="2020-05-19T22:12:49.437" v="79" actId="947"/>
          <ac:graphicFrameMkLst>
            <pc:docMk/>
            <pc:sldMk cId="2693613972" sldId="634"/>
            <ac:graphicFrameMk id="4" creationId="{837F1BFF-0A6B-4138-A673-2EE201E7B1B7}"/>
          </ac:graphicFrameMkLst>
        </pc:graphicFrameChg>
      </pc:sldChg>
      <pc:sldChg chg="modSp">
        <pc:chgData name="Batuhan Yildiz" userId="90f344fc-4655-4923-aeaf-697bba59c1a7" providerId="ADAL" clId="{CA082B49-457A-4188-BE92-6C211BDE34B2}" dt="2020-05-19T22:13:16.658" v="82" actId="12100"/>
        <pc:sldMkLst>
          <pc:docMk/>
          <pc:sldMk cId="896717437" sldId="636"/>
        </pc:sldMkLst>
        <pc:graphicFrameChg chg="mod">
          <ac:chgData name="Batuhan Yildiz" userId="90f344fc-4655-4923-aeaf-697bba59c1a7" providerId="ADAL" clId="{CA082B49-457A-4188-BE92-6C211BDE34B2}" dt="2020-05-19T22:13:16.658" v="82" actId="12100"/>
          <ac:graphicFrameMkLst>
            <pc:docMk/>
            <pc:sldMk cId="896717437" sldId="636"/>
            <ac:graphicFrameMk id="7" creationId="{8609A548-C888-4283-8BB1-1C27A8601CFE}"/>
          </ac:graphicFrameMkLst>
        </pc:graphicFrameChg>
      </pc:sldChg>
      <pc:sldChg chg="modSp">
        <pc:chgData name="Batuhan Yildiz" userId="90f344fc-4655-4923-aeaf-697bba59c1a7" providerId="ADAL" clId="{CA082B49-457A-4188-BE92-6C211BDE34B2}" dt="2020-05-19T22:13:25.835" v="83" actId="12100"/>
        <pc:sldMkLst>
          <pc:docMk/>
          <pc:sldMk cId="494521196" sldId="637"/>
        </pc:sldMkLst>
        <pc:graphicFrameChg chg="mod">
          <ac:chgData name="Batuhan Yildiz" userId="90f344fc-4655-4923-aeaf-697bba59c1a7" providerId="ADAL" clId="{CA082B49-457A-4188-BE92-6C211BDE34B2}" dt="2020-05-19T22:13:25.835" v="83" actId="12100"/>
          <ac:graphicFrameMkLst>
            <pc:docMk/>
            <pc:sldMk cId="494521196" sldId="637"/>
            <ac:graphicFrameMk id="3" creationId="{27B8C08B-01C9-40E4-A959-C75413CB4937}"/>
          </ac:graphicFrameMkLst>
        </pc:graphicFrameChg>
      </pc:sldChg>
      <pc:sldChg chg="modSp">
        <pc:chgData name="Batuhan Yildiz" userId="90f344fc-4655-4923-aeaf-697bba59c1a7" providerId="ADAL" clId="{CA082B49-457A-4188-BE92-6C211BDE34B2}" dt="2020-05-19T22:13:46.157" v="85" actId="12100"/>
        <pc:sldMkLst>
          <pc:docMk/>
          <pc:sldMk cId="815604796" sldId="638"/>
        </pc:sldMkLst>
        <pc:graphicFrameChg chg="mod">
          <ac:chgData name="Batuhan Yildiz" userId="90f344fc-4655-4923-aeaf-697bba59c1a7" providerId="ADAL" clId="{CA082B49-457A-4188-BE92-6C211BDE34B2}" dt="2020-05-19T22:13:46.157" v="85" actId="12100"/>
          <ac:graphicFrameMkLst>
            <pc:docMk/>
            <pc:sldMk cId="815604796" sldId="638"/>
            <ac:graphicFrameMk id="4" creationId="{233B4DBA-9A48-44B9-9ED6-D4E38E955F14}"/>
          </ac:graphicFrameMkLst>
        </pc:graphicFrameChg>
      </pc:sldChg>
    </pc:docChg>
  </pc:docChgLst>
</pc:chgInfo>
</file>

<file path=ppt/diagrams/_rels/data1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svg"/><Relationship Id="rId1" Type="http://schemas.openxmlformats.org/officeDocument/2006/relationships/image" Target="../media/image33.png"/><Relationship Id="rId4" Type="http://schemas.openxmlformats.org/officeDocument/2006/relationships/image" Target="../media/image36.svg"/></Relationships>
</file>

<file path=ppt/diagrams/_rels/data1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svg"/><Relationship Id="rId1" Type="http://schemas.openxmlformats.org/officeDocument/2006/relationships/image" Target="../media/image37.png"/><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40.svg"/></Relationships>
</file>

<file path=ppt/diagrams/_rels/drawing1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svg"/><Relationship Id="rId1" Type="http://schemas.openxmlformats.org/officeDocument/2006/relationships/image" Target="../media/image33.png"/><Relationship Id="rId4" Type="http://schemas.openxmlformats.org/officeDocument/2006/relationships/image" Target="../media/image36.svg"/></Relationships>
</file>

<file path=ppt/diagrams/_rels/drawing1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svg"/><Relationship Id="rId1" Type="http://schemas.openxmlformats.org/officeDocument/2006/relationships/image" Target="../media/image37.png"/><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40.svg"/></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3EC7E47-AAF6-4399-BCD8-F01188EAD6BE}" type="doc">
      <dgm:prSet loTypeId="urn:microsoft.com/office/officeart/2005/8/layout/hProcess9" loCatId="process" qsTypeId="urn:microsoft.com/office/officeart/2005/8/quickstyle/simple1" qsCatId="simple" csTypeId="urn:microsoft.com/office/officeart/2005/8/colors/colorful2" csCatId="colorful"/>
      <dgm:spPr/>
      <dgm:t>
        <a:bodyPr/>
        <a:lstStyle/>
        <a:p>
          <a:endParaRPr lang="en-US"/>
        </a:p>
      </dgm:t>
    </dgm:pt>
    <dgm:pt modelId="{2CB8DB74-3C58-4006-8415-DF75502D20F5}">
      <dgm:prSet custT="1"/>
      <dgm:spPr/>
      <dgm:t>
        <a:bodyPr/>
        <a:lstStyle/>
        <a:p>
          <a:r>
            <a:rPr lang="en-US" sz="1800" baseline="0"/>
            <a:t>Download the latest version of SSMS.</a:t>
          </a:r>
          <a:endParaRPr lang="en-US" sz="1800"/>
        </a:p>
      </dgm:t>
    </dgm:pt>
    <dgm:pt modelId="{690F9C97-67A2-4B83-8EF2-5501536D3194}" type="parTrans" cxnId="{5D3E6F82-E558-4094-A7C0-C92A7616499A}">
      <dgm:prSet/>
      <dgm:spPr/>
      <dgm:t>
        <a:bodyPr/>
        <a:lstStyle/>
        <a:p>
          <a:endParaRPr lang="en-US" sz="2000"/>
        </a:p>
      </dgm:t>
    </dgm:pt>
    <dgm:pt modelId="{5A902B04-D68D-4BCB-A8B2-72740126C965}" type="sibTrans" cxnId="{5D3E6F82-E558-4094-A7C0-C92A7616499A}">
      <dgm:prSet/>
      <dgm:spPr/>
      <dgm:t>
        <a:bodyPr/>
        <a:lstStyle/>
        <a:p>
          <a:endParaRPr lang="en-US" sz="2000"/>
        </a:p>
      </dgm:t>
    </dgm:pt>
    <dgm:pt modelId="{0C9EEAE5-7DB9-4174-AFB1-46B38B81F879}">
      <dgm:prSet custT="1"/>
      <dgm:spPr/>
      <dgm:t>
        <a:bodyPr/>
        <a:lstStyle/>
        <a:p>
          <a:r>
            <a:rPr lang="en-US" sz="1800" baseline="0"/>
            <a:t>Get the fully qualified domain name of your Azure SQL Server.</a:t>
          </a:r>
          <a:endParaRPr lang="en-US" sz="1800"/>
        </a:p>
      </dgm:t>
    </dgm:pt>
    <dgm:pt modelId="{E7B75456-ABEE-42F1-AF75-4114702739C9}" type="parTrans" cxnId="{9D630067-92C1-4EC3-A4C5-6A8ED80F256D}">
      <dgm:prSet/>
      <dgm:spPr/>
      <dgm:t>
        <a:bodyPr/>
        <a:lstStyle/>
        <a:p>
          <a:endParaRPr lang="en-US" sz="2000"/>
        </a:p>
      </dgm:t>
    </dgm:pt>
    <dgm:pt modelId="{AB45F34E-C60C-4773-A46F-B1528DF40E7D}" type="sibTrans" cxnId="{9D630067-92C1-4EC3-A4C5-6A8ED80F256D}">
      <dgm:prSet/>
      <dgm:spPr/>
      <dgm:t>
        <a:bodyPr/>
        <a:lstStyle/>
        <a:p>
          <a:endParaRPr lang="en-US" sz="2000"/>
        </a:p>
      </dgm:t>
    </dgm:pt>
    <dgm:pt modelId="{FCE3AE3F-F4EC-4E2F-92C0-9838B2AF0429}">
      <dgm:prSet custT="1"/>
      <dgm:spPr/>
      <dgm:t>
        <a:bodyPr/>
        <a:lstStyle/>
        <a:p>
          <a:r>
            <a:rPr lang="en-US" sz="1800" baseline="0"/>
            <a:t>Connect to your SQL Database.</a:t>
          </a:r>
          <a:endParaRPr lang="en-US" sz="1800"/>
        </a:p>
      </dgm:t>
    </dgm:pt>
    <dgm:pt modelId="{C26152B4-E78F-4147-A0E1-EE4B112E1325}" type="parTrans" cxnId="{D05AD7AA-BE86-4BE5-B814-DB4C0E1222E8}">
      <dgm:prSet/>
      <dgm:spPr/>
      <dgm:t>
        <a:bodyPr/>
        <a:lstStyle/>
        <a:p>
          <a:endParaRPr lang="en-US" sz="2000"/>
        </a:p>
      </dgm:t>
    </dgm:pt>
    <dgm:pt modelId="{2C150058-9272-4097-BF4A-1158B5426AA9}" type="sibTrans" cxnId="{D05AD7AA-BE86-4BE5-B814-DB4C0E1222E8}">
      <dgm:prSet/>
      <dgm:spPr/>
      <dgm:t>
        <a:bodyPr/>
        <a:lstStyle/>
        <a:p>
          <a:endParaRPr lang="en-US" sz="2000"/>
        </a:p>
      </dgm:t>
    </dgm:pt>
    <dgm:pt modelId="{6FA2DB5A-E289-48EE-8B7A-CE0680AAFA89}" type="pres">
      <dgm:prSet presAssocID="{23EC7E47-AAF6-4399-BCD8-F01188EAD6BE}" presName="CompostProcess" presStyleCnt="0">
        <dgm:presLayoutVars>
          <dgm:dir/>
          <dgm:resizeHandles val="exact"/>
        </dgm:presLayoutVars>
      </dgm:prSet>
      <dgm:spPr/>
    </dgm:pt>
    <dgm:pt modelId="{FAA59D39-7970-4EBC-82BD-0AB3DE7C9CC6}" type="pres">
      <dgm:prSet presAssocID="{23EC7E47-AAF6-4399-BCD8-F01188EAD6BE}" presName="arrow" presStyleLbl="bgShp" presStyleIdx="0" presStyleCnt="1"/>
      <dgm:spPr/>
    </dgm:pt>
    <dgm:pt modelId="{6AE26C36-BEC0-4BD1-A982-593A4C9EEEA8}" type="pres">
      <dgm:prSet presAssocID="{23EC7E47-AAF6-4399-BCD8-F01188EAD6BE}" presName="linearProcess" presStyleCnt="0"/>
      <dgm:spPr/>
    </dgm:pt>
    <dgm:pt modelId="{86D283A7-DE91-4750-B5FE-01DDB9ED0CF8}" type="pres">
      <dgm:prSet presAssocID="{2CB8DB74-3C58-4006-8415-DF75502D20F5}" presName="textNode" presStyleLbl="node1" presStyleIdx="0" presStyleCnt="3">
        <dgm:presLayoutVars>
          <dgm:bulletEnabled val="1"/>
        </dgm:presLayoutVars>
      </dgm:prSet>
      <dgm:spPr/>
    </dgm:pt>
    <dgm:pt modelId="{3EC96177-ECA1-4CC2-A8F9-ED681EF274F7}" type="pres">
      <dgm:prSet presAssocID="{5A902B04-D68D-4BCB-A8B2-72740126C965}" presName="sibTrans" presStyleCnt="0"/>
      <dgm:spPr/>
    </dgm:pt>
    <dgm:pt modelId="{155CF17E-9E37-44D4-BD70-0FAC26B50974}" type="pres">
      <dgm:prSet presAssocID="{0C9EEAE5-7DB9-4174-AFB1-46B38B81F879}" presName="textNode" presStyleLbl="node1" presStyleIdx="1" presStyleCnt="3">
        <dgm:presLayoutVars>
          <dgm:bulletEnabled val="1"/>
        </dgm:presLayoutVars>
      </dgm:prSet>
      <dgm:spPr/>
    </dgm:pt>
    <dgm:pt modelId="{2C3F90F4-BAF1-4530-93FE-7FA35DD63453}" type="pres">
      <dgm:prSet presAssocID="{AB45F34E-C60C-4773-A46F-B1528DF40E7D}" presName="sibTrans" presStyleCnt="0"/>
      <dgm:spPr/>
    </dgm:pt>
    <dgm:pt modelId="{43DBA389-024D-4A46-9A8D-E9E249AD8375}" type="pres">
      <dgm:prSet presAssocID="{FCE3AE3F-F4EC-4E2F-92C0-9838B2AF0429}" presName="textNode" presStyleLbl="node1" presStyleIdx="2" presStyleCnt="3">
        <dgm:presLayoutVars>
          <dgm:bulletEnabled val="1"/>
        </dgm:presLayoutVars>
      </dgm:prSet>
      <dgm:spPr/>
    </dgm:pt>
  </dgm:ptLst>
  <dgm:cxnLst>
    <dgm:cxn modelId="{CE562C13-802C-4711-840A-A20ADBF0D126}" type="presOf" srcId="{FCE3AE3F-F4EC-4E2F-92C0-9838B2AF0429}" destId="{43DBA389-024D-4A46-9A8D-E9E249AD8375}" srcOrd="0" destOrd="0" presId="urn:microsoft.com/office/officeart/2005/8/layout/hProcess9"/>
    <dgm:cxn modelId="{A8C69425-90C9-4539-988F-537C317F2603}" type="presOf" srcId="{23EC7E47-AAF6-4399-BCD8-F01188EAD6BE}" destId="{6FA2DB5A-E289-48EE-8B7A-CE0680AAFA89}" srcOrd="0" destOrd="0" presId="urn:microsoft.com/office/officeart/2005/8/layout/hProcess9"/>
    <dgm:cxn modelId="{410A063B-11DD-4DDF-B460-C1CC60D88343}" type="presOf" srcId="{2CB8DB74-3C58-4006-8415-DF75502D20F5}" destId="{86D283A7-DE91-4750-B5FE-01DDB9ED0CF8}" srcOrd="0" destOrd="0" presId="urn:microsoft.com/office/officeart/2005/8/layout/hProcess9"/>
    <dgm:cxn modelId="{9D630067-92C1-4EC3-A4C5-6A8ED80F256D}" srcId="{23EC7E47-AAF6-4399-BCD8-F01188EAD6BE}" destId="{0C9EEAE5-7DB9-4174-AFB1-46B38B81F879}" srcOrd="1" destOrd="0" parTransId="{E7B75456-ABEE-42F1-AF75-4114702739C9}" sibTransId="{AB45F34E-C60C-4773-A46F-B1528DF40E7D}"/>
    <dgm:cxn modelId="{5D3E6F82-E558-4094-A7C0-C92A7616499A}" srcId="{23EC7E47-AAF6-4399-BCD8-F01188EAD6BE}" destId="{2CB8DB74-3C58-4006-8415-DF75502D20F5}" srcOrd="0" destOrd="0" parTransId="{690F9C97-67A2-4B83-8EF2-5501536D3194}" sibTransId="{5A902B04-D68D-4BCB-A8B2-72740126C965}"/>
    <dgm:cxn modelId="{D05AD7AA-BE86-4BE5-B814-DB4C0E1222E8}" srcId="{23EC7E47-AAF6-4399-BCD8-F01188EAD6BE}" destId="{FCE3AE3F-F4EC-4E2F-92C0-9838B2AF0429}" srcOrd="2" destOrd="0" parTransId="{C26152B4-E78F-4147-A0E1-EE4B112E1325}" sibTransId="{2C150058-9272-4097-BF4A-1158B5426AA9}"/>
    <dgm:cxn modelId="{11FAC6F2-7F28-4954-B6A3-AF7430CB8C45}" type="presOf" srcId="{0C9EEAE5-7DB9-4174-AFB1-46B38B81F879}" destId="{155CF17E-9E37-44D4-BD70-0FAC26B50974}" srcOrd="0" destOrd="0" presId="urn:microsoft.com/office/officeart/2005/8/layout/hProcess9"/>
    <dgm:cxn modelId="{22C8D8F1-A2F1-458E-BA37-96A9D03CF597}" type="presParOf" srcId="{6FA2DB5A-E289-48EE-8B7A-CE0680AAFA89}" destId="{FAA59D39-7970-4EBC-82BD-0AB3DE7C9CC6}" srcOrd="0" destOrd="0" presId="urn:microsoft.com/office/officeart/2005/8/layout/hProcess9"/>
    <dgm:cxn modelId="{26DE9DA6-100E-4259-B9F1-37C697B681FF}" type="presParOf" srcId="{6FA2DB5A-E289-48EE-8B7A-CE0680AAFA89}" destId="{6AE26C36-BEC0-4BD1-A982-593A4C9EEEA8}" srcOrd="1" destOrd="0" presId="urn:microsoft.com/office/officeart/2005/8/layout/hProcess9"/>
    <dgm:cxn modelId="{6972206A-EEF9-419F-89A8-C6AFED2545FE}" type="presParOf" srcId="{6AE26C36-BEC0-4BD1-A982-593A4C9EEEA8}" destId="{86D283A7-DE91-4750-B5FE-01DDB9ED0CF8}" srcOrd="0" destOrd="0" presId="urn:microsoft.com/office/officeart/2005/8/layout/hProcess9"/>
    <dgm:cxn modelId="{C0CF0274-EEAA-4549-9617-BA6BA04C71CD}" type="presParOf" srcId="{6AE26C36-BEC0-4BD1-A982-593A4C9EEEA8}" destId="{3EC96177-ECA1-4CC2-A8F9-ED681EF274F7}" srcOrd="1" destOrd="0" presId="urn:microsoft.com/office/officeart/2005/8/layout/hProcess9"/>
    <dgm:cxn modelId="{2B014769-9D1E-42D3-BB67-302A334E50A8}" type="presParOf" srcId="{6AE26C36-BEC0-4BD1-A982-593A4C9EEEA8}" destId="{155CF17E-9E37-44D4-BD70-0FAC26B50974}" srcOrd="2" destOrd="0" presId="urn:microsoft.com/office/officeart/2005/8/layout/hProcess9"/>
    <dgm:cxn modelId="{F93C8A33-A481-4E24-A5FF-A22D54C6F26C}" type="presParOf" srcId="{6AE26C36-BEC0-4BD1-A982-593A4C9EEEA8}" destId="{2C3F90F4-BAF1-4530-93FE-7FA35DD63453}" srcOrd="3" destOrd="0" presId="urn:microsoft.com/office/officeart/2005/8/layout/hProcess9"/>
    <dgm:cxn modelId="{3CAA7FFC-9092-4B30-845B-435A63145A90}" type="presParOf" srcId="{6AE26C36-BEC0-4BD1-A982-593A4C9EEEA8}" destId="{43DBA389-024D-4A46-9A8D-E9E249AD8375}" srcOrd="4"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123DA72C-4838-45AA-918B-0605E2A3961A}" type="doc">
      <dgm:prSet loTypeId="urn:microsoft.com/office/officeart/2005/8/layout/vList2" loCatId="list" qsTypeId="urn:microsoft.com/office/officeart/2005/8/quickstyle/simple1" qsCatId="simple" csTypeId="urn:microsoft.com/office/officeart/2005/8/colors/accent0_3" csCatId="mainScheme"/>
      <dgm:spPr/>
      <dgm:t>
        <a:bodyPr/>
        <a:lstStyle/>
        <a:p>
          <a:endParaRPr lang="en-US"/>
        </a:p>
      </dgm:t>
    </dgm:pt>
    <dgm:pt modelId="{8E4409CC-8029-42EC-9BB8-8B819E66F679}">
      <dgm:prSet custT="1"/>
      <dgm:spPr/>
      <dgm:t>
        <a:bodyPr/>
        <a:lstStyle/>
        <a:p>
          <a:r>
            <a:rPr lang="en-US" sz="2400" baseline="0" dirty="0"/>
            <a:t>PowerShell</a:t>
          </a:r>
          <a:endParaRPr lang="en-US" sz="2400" dirty="0"/>
        </a:p>
      </dgm:t>
    </dgm:pt>
    <dgm:pt modelId="{012DD303-E46D-4378-9200-C4B4CADC6B30}" type="parTrans" cxnId="{FB86BC56-DBC1-4A39-AC5B-9B49393AD7A3}">
      <dgm:prSet/>
      <dgm:spPr/>
      <dgm:t>
        <a:bodyPr/>
        <a:lstStyle/>
        <a:p>
          <a:endParaRPr lang="en-US"/>
        </a:p>
      </dgm:t>
    </dgm:pt>
    <dgm:pt modelId="{69BCE278-52FA-4556-90C8-220920E63186}" type="sibTrans" cxnId="{FB86BC56-DBC1-4A39-AC5B-9B49393AD7A3}">
      <dgm:prSet/>
      <dgm:spPr/>
      <dgm:t>
        <a:bodyPr/>
        <a:lstStyle/>
        <a:p>
          <a:endParaRPr lang="en-US"/>
        </a:p>
      </dgm:t>
    </dgm:pt>
    <dgm:pt modelId="{D6D2D148-CF9B-47EA-88C4-312557DD7721}">
      <dgm:prSet custT="1"/>
      <dgm:spPr/>
      <dgm:t>
        <a:bodyPr/>
        <a:lstStyle/>
        <a:p>
          <a:r>
            <a:rPr lang="en-US" sz="2000" baseline="0" dirty="0"/>
            <a:t>Set-</a:t>
          </a:r>
          <a:r>
            <a:rPr lang="en-US" sz="2000" baseline="0" dirty="0" err="1"/>
            <a:t>AzSqlDatabase</a:t>
          </a:r>
          <a:endParaRPr lang="en-US" sz="2000" dirty="0"/>
        </a:p>
      </dgm:t>
    </dgm:pt>
    <dgm:pt modelId="{131B2987-A308-4BE9-A378-45D7DD05E900}" type="parTrans" cxnId="{7BB315AE-44BA-48A9-8A13-ECE98A374585}">
      <dgm:prSet/>
      <dgm:spPr/>
      <dgm:t>
        <a:bodyPr/>
        <a:lstStyle/>
        <a:p>
          <a:endParaRPr lang="en-US"/>
        </a:p>
      </dgm:t>
    </dgm:pt>
    <dgm:pt modelId="{DD4A867B-ACCA-4733-B5D8-E012C9975971}" type="sibTrans" cxnId="{7BB315AE-44BA-48A9-8A13-ECE98A374585}">
      <dgm:prSet/>
      <dgm:spPr/>
      <dgm:t>
        <a:bodyPr/>
        <a:lstStyle/>
        <a:p>
          <a:endParaRPr lang="en-US"/>
        </a:p>
      </dgm:t>
    </dgm:pt>
    <dgm:pt modelId="{A860A2F9-9671-4418-8AE5-9796394CA685}">
      <dgm:prSet custT="1"/>
      <dgm:spPr/>
      <dgm:t>
        <a:bodyPr/>
        <a:lstStyle/>
        <a:p>
          <a:r>
            <a:rPr lang="en-US" sz="2400" baseline="0" dirty="0"/>
            <a:t>REST</a:t>
          </a:r>
          <a:endParaRPr lang="en-US" sz="2400" dirty="0"/>
        </a:p>
      </dgm:t>
    </dgm:pt>
    <dgm:pt modelId="{1F5147E3-A203-4C79-B457-856BA658F593}" type="parTrans" cxnId="{5D05BF6B-2959-49CD-A1DD-2318A9EF267E}">
      <dgm:prSet/>
      <dgm:spPr/>
      <dgm:t>
        <a:bodyPr/>
        <a:lstStyle/>
        <a:p>
          <a:endParaRPr lang="en-US"/>
        </a:p>
      </dgm:t>
    </dgm:pt>
    <dgm:pt modelId="{597F03B3-B51F-4994-B721-65BED2DBB3C8}" type="sibTrans" cxnId="{5D05BF6B-2959-49CD-A1DD-2318A9EF267E}">
      <dgm:prSet/>
      <dgm:spPr/>
      <dgm:t>
        <a:bodyPr/>
        <a:lstStyle/>
        <a:p>
          <a:endParaRPr lang="en-US"/>
        </a:p>
      </dgm:t>
    </dgm:pt>
    <dgm:pt modelId="{1B46D320-7CB3-4A0A-938F-D2B0460E8E33}">
      <dgm:prSet custT="1"/>
      <dgm:spPr/>
      <dgm:t>
        <a:bodyPr/>
        <a:lstStyle/>
        <a:p>
          <a:r>
            <a:rPr lang="en-US" sz="2000" baseline="0" dirty="0"/>
            <a:t>Update database</a:t>
          </a:r>
          <a:endParaRPr lang="en-US" sz="2000" dirty="0"/>
        </a:p>
      </dgm:t>
    </dgm:pt>
    <dgm:pt modelId="{AF1641C0-BD02-4FBC-86C5-4FB62F8D1A83}" type="parTrans" cxnId="{2B0267D0-59FF-4394-A88B-6E1D277E8702}">
      <dgm:prSet/>
      <dgm:spPr/>
      <dgm:t>
        <a:bodyPr/>
        <a:lstStyle/>
        <a:p>
          <a:endParaRPr lang="en-US"/>
        </a:p>
      </dgm:t>
    </dgm:pt>
    <dgm:pt modelId="{F13ADD12-3BB1-48CA-B119-52F75629A980}" type="sibTrans" cxnId="{2B0267D0-59FF-4394-A88B-6E1D277E8702}">
      <dgm:prSet/>
      <dgm:spPr/>
      <dgm:t>
        <a:bodyPr/>
        <a:lstStyle/>
        <a:p>
          <a:endParaRPr lang="en-US"/>
        </a:p>
      </dgm:t>
    </dgm:pt>
    <dgm:pt modelId="{431C2029-0310-4865-9BB2-5DC4B4DBECDF}">
      <dgm:prSet custT="1"/>
      <dgm:spPr/>
      <dgm:t>
        <a:bodyPr/>
        <a:lstStyle/>
        <a:p>
          <a:r>
            <a:rPr lang="en-US" sz="2400" baseline="0" dirty="0"/>
            <a:t>Azure CLI</a:t>
          </a:r>
          <a:endParaRPr lang="en-US" sz="2400" dirty="0"/>
        </a:p>
      </dgm:t>
    </dgm:pt>
    <dgm:pt modelId="{D113B86D-0650-4920-98A8-43D22363A03E}" type="parTrans" cxnId="{2EE7DE59-DB63-44F6-BC86-D22ED258A2AC}">
      <dgm:prSet/>
      <dgm:spPr/>
      <dgm:t>
        <a:bodyPr/>
        <a:lstStyle/>
        <a:p>
          <a:endParaRPr lang="en-US"/>
        </a:p>
      </dgm:t>
    </dgm:pt>
    <dgm:pt modelId="{9532E2D4-07BA-4FD1-9E8A-39EFF6018A99}" type="sibTrans" cxnId="{2EE7DE59-DB63-44F6-BC86-D22ED258A2AC}">
      <dgm:prSet/>
      <dgm:spPr/>
      <dgm:t>
        <a:bodyPr/>
        <a:lstStyle/>
        <a:p>
          <a:endParaRPr lang="en-US"/>
        </a:p>
      </dgm:t>
    </dgm:pt>
    <dgm:pt modelId="{2522468C-527F-4E32-85C0-3B8D0AA7100C}">
      <dgm:prSet custT="1"/>
      <dgm:spPr/>
      <dgm:t>
        <a:bodyPr/>
        <a:lstStyle/>
        <a:p>
          <a:r>
            <a:rPr lang="en-US" sz="2000" baseline="0" dirty="0" err="1"/>
            <a:t>az</a:t>
          </a:r>
          <a:r>
            <a:rPr lang="en-US" sz="2000" baseline="0" dirty="0"/>
            <a:t> </a:t>
          </a:r>
          <a:r>
            <a:rPr lang="en-US" sz="2000" baseline="0" dirty="0" err="1"/>
            <a:t>sql</a:t>
          </a:r>
          <a:r>
            <a:rPr lang="en-US" sz="2000" baseline="0" dirty="0"/>
            <a:t> </a:t>
          </a:r>
          <a:r>
            <a:rPr lang="en-US" sz="2000" baseline="0" dirty="0" err="1"/>
            <a:t>db</a:t>
          </a:r>
          <a:r>
            <a:rPr lang="en-US" sz="2000" baseline="0" dirty="0"/>
            <a:t> update</a:t>
          </a:r>
          <a:endParaRPr lang="en-US" sz="2000" dirty="0"/>
        </a:p>
      </dgm:t>
    </dgm:pt>
    <dgm:pt modelId="{672F963F-8F5F-41EB-8225-FF963BDAC41F}" type="parTrans" cxnId="{EA7E02F5-55F7-45B2-8F7A-154C1F8FE6E4}">
      <dgm:prSet/>
      <dgm:spPr/>
      <dgm:t>
        <a:bodyPr/>
        <a:lstStyle/>
        <a:p>
          <a:endParaRPr lang="en-US"/>
        </a:p>
      </dgm:t>
    </dgm:pt>
    <dgm:pt modelId="{30A07736-A061-4484-985F-C0F073E7D951}" type="sibTrans" cxnId="{EA7E02F5-55F7-45B2-8F7A-154C1F8FE6E4}">
      <dgm:prSet/>
      <dgm:spPr/>
      <dgm:t>
        <a:bodyPr/>
        <a:lstStyle/>
        <a:p>
          <a:endParaRPr lang="en-US"/>
        </a:p>
      </dgm:t>
    </dgm:pt>
    <dgm:pt modelId="{0A34EC52-F8D8-4EE3-B9E4-6905F4385A22}">
      <dgm:prSet custT="1"/>
      <dgm:spPr/>
      <dgm:t>
        <a:bodyPr/>
        <a:lstStyle/>
        <a:p>
          <a:r>
            <a:rPr lang="en-US" sz="2400" baseline="0" dirty="0"/>
            <a:t>T-SQL</a:t>
          </a:r>
          <a:endParaRPr lang="en-US" sz="2400" dirty="0"/>
        </a:p>
      </dgm:t>
    </dgm:pt>
    <dgm:pt modelId="{6DAC1594-5AD6-4802-B85B-E15DFE8DBB83}" type="parTrans" cxnId="{C9E645BA-1821-402F-9A70-017C1CCF8934}">
      <dgm:prSet/>
      <dgm:spPr/>
      <dgm:t>
        <a:bodyPr/>
        <a:lstStyle/>
        <a:p>
          <a:endParaRPr lang="en-US"/>
        </a:p>
      </dgm:t>
    </dgm:pt>
    <dgm:pt modelId="{C73AA9C2-5206-4A3A-8B04-FF5FFE4311BC}" type="sibTrans" cxnId="{C9E645BA-1821-402F-9A70-017C1CCF8934}">
      <dgm:prSet/>
      <dgm:spPr/>
      <dgm:t>
        <a:bodyPr/>
        <a:lstStyle/>
        <a:p>
          <a:endParaRPr lang="en-US"/>
        </a:p>
      </dgm:t>
    </dgm:pt>
    <dgm:pt modelId="{FB991BBB-55CF-42B9-8790-F99203BE6B76}">
      <dgm:prSet custT="1"/>
      <dgm:spPr/>
      <dgm:t>
        <a:bodyPr/>
        <a:lstStyle/>
        <a:p>
          <a:r>
            <a:rPr lang="en-US" sz="2000" baseline="0" dirty="0"/>
            <a:t>ALTER DATABASE … MODIFY (EDITION = …)</a:t>
          </a:r>
          <a:endParaRPr lang="en-US" sz="2000" dirty="0"/>
        </a:p>
      </dgm:t>
    </dgm:pt>
    <dgm:pt modelId="{D0806277-399B-46CF-8FB9-F888A6224A58}" type="parTrans" cxnId="{82B0E592-2E0A-48D4-9608-C5F19CA2F0EB}">
      <dgm:prSet/>
      <dgm:spPr/>
      <dgm:t>
        <a:bodyPr/>
        <a:lstStyle/>
        <a:p>
          <a:endParaRPr lang="en-US"/>
        </a:p>
      </dgm:t>
    </dgm:pt>
    <dgm:pt modelId="{AC2F19B2-6A36-4AF3-A6AA-13363EDA5781}" type="sibTrans" cxnId="{82B0E592-2E0A-48D4-9608-C5F19CA2F0EB}">
      <dgm:prSet/>
      <dgm:spPr/>
      <dgm:t>
        <a:bodyPr/>
        <a:lstStyle/>
        <a:p>
          <a:endParaRPr lang="en-US"/>
        </a:p>
      </dgm:t>
    </dgm:pt>
    <dgm:pt modelId="{05B25838-C4C9-492B-B85D-EE7CE810208B}" type="pres">
      <dgm:prSet presAssocID="{123DA72C-4838-45AA-918B-0605E2A3961A}" presName="linear" presStyleCnt="0">
        <dgm:presLayoutVars>
          <dgm:animLvl val="lvl"/>
          <dgm:resizeHandles val="exact"/>
        </dgm:presLayoutVars>
      </dgm:prSet>
      <dgm:spPr/>
    </dgm:pt>
    <dgm:pt modelId="{AE7E732F-5250-4F77-9F9E-52C7AF8DA41A}" type="pres">
      <dgm:prSet presAssocID="{8E4409CC-8029-42EC-9BB8-8B819E66F679}" presName="parentText" presStyleLbl="node1" presStyleIdx="0" presStyleCnt="4">
        <dgm:presLayoutVars>
          <dgm:chMax val="0"/>
          <dgm:bulletEnabled val="1"/>
        </dgm:presLayoutVars>
      </dgm:prSet>
      <dgm:spPr/>
    </dgm:pt>
    <dgm:pt modelId="{AD3AAEE1-F11D-4FC3-A023-5CD825FC9A2A}" type="pres">
      <dgm:prSet presAssocID="{8E4409CC-8029-42EC-9BB8-8B819E66F679}" presName="childText" presStyleLbl="revTx" presStyleIdx="0" presStyleCnt="4">
        <dgm:presLayoutVars>
          <dgm:bulletEnabled val="1"/>
        </dgm:presLayoutVars>
      </dgm:prSet>
      <dgm:spPr/>
    </dgm:pt>
    <dgm:pt modelId="{70038914-B453-4137-B7E2-7854FF2D6714}" type="pres">
      <dgm:prSet presAssocID="{A860A2F9-9671-4418-8AE5-9796394CA685}" presName="parentText" presStyleLbl="node1" presStyleIdx="1" presStyleCnt="4">
        <dgm:presLayoutVars>
          <dgm:chMax val="0"/>
          <dgm:bulletEnabled val="1"/>
        </dgm:presLayoutVars>
      </dgm:prSet>
      <dgm:spPr/>
    </dgm:pt>
    <dgm:pt modelId="{1D561426-F22C-48A6-B5B5-D2C77F8B723B}" type="pres">
      <dgm:prSet presAssocID="{A860A2F9-9671-4418-8AE5-9796394CA685}" presName="childText" presStyleLbl="revTx" presStyleIdx="1" presStyleCnt="4">
        <dgm:presLayoutVars>
          <dgm:bulletEnabled val="1"/>
        </dgm:presLayoutVars>
      </dgm:prSet>
      <dgm:spPr/>
    </dgm:pt>
    <dgm:pt modelId="{82CCE49A-F2DD-4FA3-971B-B0FD27D9E3E1}" type="pres">
      <dgm:prSet presAssocID="{431C2029-0310-4865-9BB2-5DC4B4DBECDF}" presName="parentText" presStyleLbl="node1" presStyleIdx="2" presStyleCnt="4">
        <dgm:presLayoutVars>
          <dgm:chMax val="0"/>
          <dgm:bulletEnabled val="1"/>
        </dgm:presLayoutVars>
      </dgm:prSet>
      <dgm:spPr/>
    </dgm:pt>
    <dgm:pt modelId="{A47D2939-EEC7-4CA7-BA4B-0D9B10A8E8A4}" type="pres">
      <dgm:prSet presAssocID="{431C2029-0310-4865-9BB2-5DC4B4DBECDF}" presName="childText" presStyleLbl="revTx" presStyleIdx="2" presStyleCnt="4">
        <dgm:presLayoutVars>
          <dgm:bulletEnabled val="1"/>
        </dgm:presLayoutVars>
      </dgm:prSet>
      <dgm:spPr/>
    </dgm:pt>
    <dgm:pt modelId="{5830A749-91C2-42BE-9395-2A36640B2376}" type="pres">
      <dgm:prSet presAssocID="{0A34EC52-F8D8-4EE3-B9E4-6905F4385A22}" presName="parentText" presStyleLbl="node1" presStyleIdx="3" presStyleCnt="4">
        <dgm:presLayoutVars>
          <dgm:chMax val="0"/>
          <dgm:bulletEnabled val="1"/>
        </dgm:presLayoutVars>
      </dgm:prSet>
      <dgm:spPr/>
    </dgm:pt>
    <dgm:pt modelId="{522526A7-C40C-4911-A903-B874C5A4EF78}" type="pres">
      <dgm:prSet presAssocID="{0A34EC52-F8D8-4EE3-B9E4-6905F4385A22}" presName="childText" presStyleLbl="revTx" presStyleIdx="3" presStyleCnt="4">
        <dgm:presLayoutVars>
          <dgm:bulletEnabled val="1"/>
        </dgm:presLayoutVars>
      </dgm:prSet>
      <dgm:spPr/>
    </dgm:pt>
  </dgm:ptLst>
  <dgm:cxnLst>
    <dgm:cxn modelId="{73D2F864-2CBD-4970-92A9-C8D061EBFED8}" type="presOf" srcId="{123DA72C-4838-45AA-918B-0605E2A3961A}" destId="{05B25838-C4C9-492B-B85D-EE7CE810208B}" srcOrd="0" destOrd="0" presId="urn:microsoft.com/office/officeart/2005/8/layout/vList2"/>
    <dgm:cxn modelId="{5D05BF6B-2959-49CD-A1DD-2318A9EF267E}" srcId="{123DA72C-4838-45AA-918B-0605E2A3961A}" destId="{A860A2F9-9671-4418-8AE5-9796394CA685}" srcOrd="1" destOrd="0" parTransId="{1F5147E3-A203-4C79-B457-856BA658F593}" sibTransId="{597F03B3-B51F-4994-B721-65BED2DBB3C8}"/>
    <dgm:cxn modelId="{A7B9BE4F-2005-4A98-A9AF-2897EDF127C2}" type="presOf" srcId="{431C2029-0310-4865-9BB2-5DC4B4DBECDF}" destId="{82CCE49A-F2DD-4FA3-971B-B0FD27D9E3E1}" srcOrd="0" destOrd="0" presId="urn:microsoft.com/office/officeart/2005/8/layout/vList2"/>
    <dgm:cxn modelId="{F2A5E171-8C76-4B7D-835B-E11371419840}" type="presOf" srcId="{A860A2F9-9671-4418-8AE5-9796394CA685}" destId="{70038914-B453-4137-B7E2-7854FF2D6714}" srcOrd="0" destOrd="0" presId="urn:microsoft.com/office/officeart/2005/8/layout/vList2"/>
    <dgm:cxn modelId="{FB86BC56-DBC1-4A39-AC5B-9B49393AD7A3}" srcId="{123DA72C-4838-45AA-918B-0605E2A3961A}" destId="{8E4409CC-8029-42EC-9BB8-8B819E66F679}" srcOrd="0" destOrd="0" parTransId="{012DD303-E46D-4378-9200-C4B4CADC6B30}" sibTransId="{69BCE278-52FA-4556-90C8-220920E63186}"/>
    <dgm:cxn modelId="{2EE7DE59-DB63-44F6-BC86-D22ED258A2AC}" srcId="{123DA72C-4838-45AA-918B-0605E2A3961A}" destId="{431C2029-0310-4865-9BB2-5DC4B4DBECDF}" srcOrd="2" destOrd="0" parTransId="{D113B86D-0650-4920-98A8-43D22363A03E}" sibTransId="{9532E2D4-07BA-4FD1-9E8A-39EFF6018A99}"/>
    <dgm:cxn modelId="{36CDC77A-1B95-43A8-947D-6B047E2120C7}" type="presOf" srcId="{1B46D320-7CB3-4A0A-938F-D2B0460E8E33}" destId="{1D561426-F22C-48A6-B5B5-D2C77F8B723B}" srcOrd="0" destOrd="0" presId="urn:microsoft.com/office/officeart/2005/8/layout/vList2"/>
    <dgm:cxn modelId="{82B0E592-2E0A-48D4-9608-C5F19CA2F0EB}" srcId="{0A34EC52-F8D8-4EE3-B9E4-6905F4385A22}" destId="{FB991BBB-55CF-42B9-8790-F99203BE6B76}" srcOrd="0" destOrd="0" parTransId="{D0806277-399B-46CF-8FB9-F888A6224A58}" sibTransId="{AC2F19B2-6A36-4AF3-A6AA-13363EDA5781}"/>
    <dgm:cxn modelId="{808A2E9F-DA2F-4B79-8189-0C4517BF05E4}" type="presOf" srcId="{D6D2D148-CF9B-47EA-88C4-312557DD7721}" destId="{AD3AAEE1-F11D-4FC3-A023-5CD825FC9A2A}" srcOrd="0" destOrd="0" presId="urn:microsoft.com/office/officeart/2005/8/layout/vList2"/>
    <dgm:cxn modelId="{E51CF3AC-03E5-4700-A47F-AE7F74A5E6D8}" type="presOf" srcId="{2522468C-527F-4E32-85C0-3B8D0AA7100C}" destId="{A47D2939-EEC7-4CA7-BA4B-0D9B10A8E8A4}" srcOrd="0" destOrd="0" presId="urn:microsoft.com/office/officeart/2005/8/layout/vList2"/>
    <dgm:cxn modelId="{7BB315AE-44BA-48A9-8A13-ECE98A374585}" srcId="{8E4409CC-8029-42EC-9BB8-8B819E66F679}" destId="{D6D2D148-CF9B-47EA-88C4-312557DD7721}" srcOrd="0" destOrd="0" parTransId="{131B2987-A308-4BE9-A378-45D7DD05E900}" sibTransId="{DD4A867B-ACCA-4733-B5D8-E012C9975971}"/>
    <dgm:cxn modelId="{E2DDDDB6-A6F2-4469-97A1-A383DA60CE78}" type="presOf" srcId="{0A34EC52-F8D8-4EE3-B9E4-6905F4385A22}" destId="{5830A749-91C2-42BE-9395-2A36640B2376}" srcOrd="0" destOrd="0" presId="urn:microsoft.com/office/officeart/2005/8/layout/vList2"/>
    <dgm:cxn modelId="{C9E645BA-1821-402F-9A70-017C1CCF8934}" srcId="{123DA72C-4838-45AA-918B-0605E2A3961A}" destId="{0A34EC52-F8D8-4EE3-B9E4-6905F4385A22}" srcOrd="3" destOrd="0" parTransId="{6DAC1594-5AD6-4802-B85B-E15DFE8DBB83}" sibTransId="{C73AA9C2-5206-4A3A-8B04-FF5FFE4311BC}"/>
    <dgm:cxn modelId="{2B0267D0-59FF-4394-A88B-6E1D277E8702}" srcId="{A860A2F9-9671-4418-8AE5-9796394CA685}" destId="{1B46D320-7CB3-4A0A-938F-D2B0460E8E33}" srcOrd="0" destOrd="0" parTransId="{AF1641C0-BD02-4FBC-86C5-4FB62F8D1A83}" sibTransId="{F13ADD12-3BB1-48CA-B119-52F75629A980}"/>
    <dgm:cxn modelId="{FE6FD5D0-1DDE-45D2-AB41-585F6250DB35}" type="presOf" srcId="{8E4409CC-8029-42EC-9BB8-8B819E66F679}" destId="{AE7E732F-5250-4F77-9F9E-52C7AF8DA41A}" srcOrd="0" destOrd="0" presId="urn:microsoft.com/office/officeart/2005/8/layout/vList2"/>
    <dgm:cxn modelId="{036DA8DF-9782-48D7-A4FA-18FEBDCC92B1}" type="presOf" srcId="{FB991BBB-55CF-42B9-8790-F99203BE6B76}" destId="{522526A7-C40C-4911-A903-B874C5A4EF78}" srcOrd="0" destOrd="0" presId="urn:microsoft.com/office/officeart/2005/8/layout/vList2"/>
    <dgm:cxn modelId="{EA7E02F5-55F7-45B2-8F7A-154C1F8FE6E4}" srcId="{431C2029-0310-4865-9BB2-5DC4B4DBECDF}" destId="{2522468C-527F-4E32-85C0-3B8D0AA7100C}" srcOrd="0" destOrd="0" parTransId="{672F963F-8F5F-41EB-8225-FF963BDAC41F}" sibTransId="{30A07736-A061-4484-985F-C0F073E7D951}"/>
    <dgm:cxn modelId="{8A52ED25-6BA7-4595-B3D2-A3317E4CF694}" type="presParOf" srcId="{05B25838-C4C9-492B-B85D-EE7CE810208B}" destId="{AE7E732F-5250-4F77-9F9E-52C7AF8DA41A}" srcOrd="0" destOrd="0" presId="urn:microsoft.com/office/officeart/2005/8/layout/vList2"/>
    <dgm:cxn modelId="{550CECA5-EE05-4EB9-B53C-A3D66E34795B}" type="presParOf" srcId="{05B25838-C4C9-492B-B85D-EE7CE810208B}" destId="{AD3AAEE1-F11D-4FC3-A023-5CD825FC9A2A}" srcOrd="1" destOrd="0" presId="urn:microsoft.com/office/officeart/2005/8/layout/vList2"/>
    <dgm:cxn modelId="{B735AE05-5D80-4567-AAAB-A21E482632D7}" type="presParOf" srcId="{05B25838-C4C9-492B-B85D-EE7CE810208B}" destId="{70038914-B453-4137-B7E2-7854FF2D6714}" srcOrd="2" destOrd="0" presId="urn:microsoft.com/office/officeart/2005/8/layout/vList2"/>
    <dgm:cxn modelId="{59714B39-C967-4CA2-A9A5-3F6783E62DBD}" type="presParOf" srcId="{05B25838-C4C9-492B-B85D-EE7CE810208B}" destId="{1D561426-F22C-48A6-B5B5-D2C77F8B723B}" srcOrd="3" destOrd="0" presId="urn:microsoft.com/office/officeart/2005/8/layout/vList2"/>
    <dgm:cxn modelId="{D4B82273-6D51-452F-B7D6-8CA8F4F2DB31}" type="presParOf" srcId="{05B25838-C4C9-492B-B85D-EE7CE810208B}" destId="{82CCE49A-F2DD-4FA3-971B-B0FD27D9E3E1}" srcOrd="4" destOrd="0" presId="urn:microsoft.com/office/officeart/2005/8/layout/vList2"/>
    <dgm:cxn modelId="{81088C69-886F-47AC-97E7-34A24E440102}" type="presParOf" srcId="{05B25838-C4C9-492B-B85D-EE7CE810208B}" destId="{A47D2939-EEC7-4CA7-BA4B-0D9B10A8E8A4}" srcOrd="5" destOrd="0" presId="urn:microsoft.com/office/officeart/2005/8/layout/vList2"/>
    <dgm:cxn modelId="{C89A3D3A-10DF-40AF-A783-6515DFA0AED8}" type="presParOf" srcId="{05B25838-C4C9-492B-B85D-EE7CE810208B}" destId="{5830A749-91C2-42BE-9395-2A36640B2376}" srcOrd="6" destOrd="0" presId="urn:microsoft.com/office/officeart/2005/8/layout/vList2"/>
    <dgm:cxn modelId="{F67BF451-C88D-4C89-877C-233C54F3A707}" type="presParOf" srcId="{05B25838-C4C9-492B-B85D-EE7CE810208B}" destId="{522526A7-C40C-4911-A903-B874C5A4EF78}" srcOrd="7"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E7EEE80D-8286-480F-A640-701A504DA184}" type="doc">
      <dgm:prSet loTypeId="urn:microsoft.com/office/officeart/2005/8/layout/hierarchy1" loCatId="hierarchy" qsTypeId="urn:microsoft.com/office/officeart/2005/8/quickstyle/simple1" qsCatId="simple" csTypeId="urn:microsoft.com/office/officeart/2005/8/colors/accent0_3" csCatId="mainScheme" phldr="1"/>
      <dgm:spPr/>
      <dgm:t>
        <a:bodyPr/>
        <a:lstStyle/>
        <a:p>
          <a:endParaRPr lang="en-US"/>
        </a:p>
      </dgm:t>
    </dgm:pt>
    <dgm:pt modelId="{6766A2F4-7AE3-47C9-877B-6269277ED813}">
      <dgm:prSet phldrT="[Text]"/>
      <dgm:spPr>
        <a:xfrm>
          <a:off x="704941" y="322395"/>
          <a:ext cx="3028157" cy="1922879"/>
        </a:xfrm>
        <a:prstGeom prst="roundRect">
          <a:avLst>
            <a:gd name="adj" fmla="val 10000"/>
          </a:avLst>
        </a:prstGeom>
      </dgm:spPr>
      <dgm:t>
        <a:bodyPr/>
        <a:lstStyle/>
        <a:p>
          <a:pPr>
            <a:buNone/>
          </a:pPr>
          <a:r>
            <a:rPr lang="en-US" dirty="0">
              <a:latin typeface="Segoe UI Light" panose="020B0502040204020203" pitchFamily="34" charset="0"/>
              <a:ea typeface="+mn-ea"/>
              <a:cs typeface="Segoe UI Light" panose="020B0502040204020203" pitchFamily="34" charset="0"/>
            </a:rPr>
            <a:t>Connections to the database may be temporarily dropped</a:t>
          </a:r>
        </a:p>
      </dgm:t>
    </dgm:pt>
    <dgm:pt modelId="{E47B7FB8-5F5D-4F09-88E9-C9D28545EC4C}" type="parTrans" cxnId="{EC3A534C-9B73-4C9E-ABF5-57FF9928EF36}">
      <dgm:prSet/>
      <dgm:spPr/>
      <dgm:t>
        <a:bodyPr/>
        <a:lstStyle/>
        <a:p>
          <a:endParaRPr lang="en-US"/>
        </a:p>
      </dgm:t>
    </dgm:pt>
    <dgm:pt modelId="{F1A48864-8C48-4F94-9933-692E81CC9CCD}" type="sibTrans" cxnId="{EC3A534C-9B73-4C9E-ABF5-57FF9928EF36}">
      <dgm:prSet/>
      <dgm:spPr/>
      <dgm:t>
        <a:bodyPr/>
        <a:lstStyle/>
        <a:p>
          <a:endParaRPr lang="en-US"/>
        </a:p>
      </dgm:t>
    </dgm:pt>
    <dgm:pt modelId="{D47F3622-5193-4D1A-8EC9-8DC34A48F21F}">
      <dgm:prSet phldrT="[Text]"/>
      <dgm:spPr>
        <a:xfrm>
          <a:off x="704941" y="3125964"/>
          <a:ext cx="3028157" cy="1922879"/>
        </a:xfrm>
        <a:prstGeom prst="roundRect">
          <a:avLst>
            <a:gd name="adj" fmla="val 10000"/>
          </a:avLst>
        </a:prstGeom>
      </dgm:spPr>
      <dgm:t>
        <a:bodyPr/>
        <a:lstStyle/>
        <a:p>
          <a:pPr>
            <a:buNone/>
          </a:pPr>
          <a:r>
            <a:rPr lang="en-US" kern="1200" dirty="0">
              <a:latin typeface="Segoe UI Light" panose="020B0502040204020203" pitchFamily="34" charset="0"/>
              <a:ea typeface="+mn-ea"/>
              <a:cs typeface="Segoe UI Light" panose="020B0502040204020203" pitchFamily="34" charset="0"/>
            </a:rPr>
            <a:t>No data is lost during this process </a:t>
          </a:r>
        </a:p>
      </dgm:t>
    </dgm:pt>
    <dgm:pt modelId="{32E43D76-28A8-472F-844F-C3376927601F}" type="parTrans" cxnId="{2CFE73CA-4B8C-4917-9BE9-7E199BEB374A}">
      <dgm:prSet/>
      <dgm:spPr>
        <a:xfrm>
          <a:off x="1836837" y="1925636"/>
          <a:ext cx="91440" cy="880689"/>
        </a:xfrm>
        <a:custGeom>
          <a:avLst/>
          <a:gdLst/>
          <a:ahLst/>
          <a:cxnLst/>
          <a:rect l="0" t="0" r="0" b="0"/>
          <a:pathLst>
            <a:path>
              <a:moveTo>
                <a:pt x="45720" y="0"/>
              </a:moveTo>
              <a:lnTo>
                <a:pt x="45720" y="880689"/>
              </a:lnTo>
            </a:path>
          </a:pathLst>
        </a:custGeom>
      </dgm:spPr>
      <dgm:t>
        <a:bodyPr/>
        <a:lstStyle/>
        <a:p>
          <a:endParaRPr lang="en-US"/>
        </a:p>
      </dgm:t>
    </dgm:pt>
    <dgm:pt modelId="{6EAE9AAD-775B-4AA2-90AF-A82C4CE5C79C}" type="sibTrans" cxnId="{2CFE73CA-4B8C-4917-9BE9-7E199BEB374A}">
      <dgm:prSet/>
      <dgm:spPr/>
      <dgm:t>
        <a:bodyPr/>
        <a:lstStyle/>
        <a:p>
          <a:endParaRPr lang="en-US"/>
        </a:p>
      </dgm:t>
    </dgm:pt>
    <dgm:pt modelId="{37143C0E-28F5-47F4-89BF-47772C8038C2}">
      <dgm:prSet phldrT="[Text]"/>
      <dgm:spPr>
        <a:xfrm>
          <a:off x="6256562" y="322395"/>
          <a:ext cx="3028157" cy="1922879"/>
        </a:xfrm>
        <a:prstGeom prst="roundRect">
          <a:avLst>
            <a:gd name="adj" fmla="val 10000"/>
          </a:avLst>
        </a:prstGeom>
      </dgm:spPr>
      <dgm:t>
        <a:bodyPr/>
        <a:lstStyle/>
        <a:p>
          <a:pPr>
            <a:buNone/>
          </a:pPr>
          <a:r>
            <a:rPr lang="en-US" kern="1200" dirty="0">
              <a:latin typeface="Segoe UI Light" panose="020B0502040204020203" pitchFamily="34" charset="0"/>
              <a:ea typeface="+mn-ea"/>
              <a:cs typeface="Segoe UI Light" panose="020B0502040204020203" pitchFamily="34" charset="0"/>
            </a:rPr>
            <a:t>The duration depends on both size and service tier</a:t>
          </a:r>
        </a:p>
      </dgm:t>
    </dgm:pt>
    <dgm:pt modelId="{B3C14FAB-DF82-4401-BA40-E13D9337C3BC}" type="parTrans" cxnId="{19DFACF9-57FC-494C-92DE-AE11F0D30F9B}">
      <dgm:prSet/>
      <dgm:spPr/>
      <dgm:t>
        <a:bodyPr/>
        <a:lstStyle/>
        <a:p>
          <a:endParaRPr lang="en-US"/>
        </a:p>
      </dgm:t>
    </dgm:pt>
    <dgm:pt modelId="{3E737093-5710-4340-8684-01E96F7E40D5}" type="sibTrans" cxnId="{19DFACF9-57FC-494C-92DE-AE11F0D30F9B}">
      <dgm:prSet/>
      <dgm:spPr/>
      <dgm:t>
        <a:bodyPr/>
        <a:lstStyle/>
        <a:p>
          <a:endParaRPr lang="en-US"/>
        </a:p>
      </dgm:t>
    </dgm:pt>
    <dgm:pt modelId="{BB531CB1-5E72-4F47-B0C4-5E92D1540DD5}">
      <dgm:prSet phldrT="[Text]"/>
      <dgm:spPr>
        <a:xfrm>
          <a:off x="4406021" y="3125964"/>
          <a:ext cx="3028157" cy="1922879"/>
        </a:xfrm>
        <a:prstGeom prst="roundRect">
          <a:avLst>
            <a:gd name="adj" fmla="val 10000"/>
          </a:avLst>
        </a:prstGeom>
      </dgm:spPr>
      <dgm:t>
        <a:bodyPr/>
        <a:lstStyle/>
        <a:p>
          <a:pPr>
            <a:buNone/>
          </a:pPr>
          <a:r>
            <a:rPr lang="nl-BE">
              <a:latin typeface="Segoe UI Light" panose="020B0502040204020203" pitchFamily="34" charset="0"/>
              <a:ea typeface="+mn-ea"/>
              <a:cs typeface="Segoe UI Light" panose="020B0502040204020203" pitchFamily="34" charset="0"/>
            </a:rPr>
            <a:t>Changing to, from, within Standard Tier of 250 GB database &lt; 6 hours</a:t>
          </a:r>
          <a:endParaRPr lang="en-US" dirty="0">
            <a:latin typeface="Segoe UI Light" panose="020B0502040204020203" pitchFamily="34" charset="0"/>
            <a:ea typeface="+mn-ea"/>
            <a:cs typeface="Segoe UI Light" panose="020B0502040204020203" pitchFamily="34" charset="0"/>
          </a:endParaRPr>
        </a:p>
      </dgm:t>
    </dgm:pt>
    <dgm:pt modelId="{D7DC76DA-9371-4E10-B640-F05D7DB536D3}" type="parTrans" cxnId="{70EE15DF-0F95-42C4-8909-B155C58A2B84}">
      <dgm:prSet/>
      <dgm:spPr>
        <a:xfrm>
          <a:off x="5583638" y="1925636"/>
          <a:ext cx="1850540" cy="880689"/>
        </a:xfrm>
        <a:custGeom>
          <a:avLst/>
          <a:gdLst/>
          <a:ahLst/>
          <a:cxnLst/>
          <a:rect l="0" t="0" r="0" b="0"/>
          <a:pathLst>
            <a:path>
              <a:moveTo>
                <a:pt x="1850540" y="0"/>
              </a:moveTo>
              <a:lnTo>
                <a:pt x="1850540" y="600163"/>
              </a:lnTo>
              <a:lnTo>
                <a:pt x="0" y="600163"/>
              </a:lnTo>
              <a:lnTo>
                <a:pt x="0" y="880689"/>
              </a:lnTo>
            </a:path>
          </a:pathLst>
        </a:custGeom>
      </dgm:spPr>
      <dgm:t>
        <a:bodyPr/>
        <a:lstStyle/>
        <a:p>
          <a:endParaRPr lang="en-US"/>
        </a:p>
      </dgm:t>
    </dgm:pt>
    <dgm:pt modelId="{6CDCF799-174A-49E2-B20A-4FAC6760A1AD}" type="sibTrans" cxnId="{70EE15DF-0F95-42C4-8909-B155C58A2B84}">
      <dgm:prSet/>
      <dgm:spPr/>
      <dgm:t>
        <a:bodyPr/>
        <a:lstStyle/>
        <a:p>
          <a:endParaRPr lang="en-US"/>
        </a:p>
      </dgm:t>
    </dgm:pt>
    <dgm:pt modelId="{E90313FC-7100-4B28-9E05-EC0AFDBFBE99}">
      <dgm:prSet phldrT="[Text]"/>
      <dgm:spPr>
        <a:xfrm>
          <a:off x="8107102" y="3125964"/>
          <a:ext cx="3028157" cy="1922879"/>
        </a:xfrm>
        <a:prstGeom prst="roundRect">
          <a:avLst>
            <a:gd name="adj" fmla="val 10000"/>
          </a:avLst>
        </a:prstGeom>
      </dgm:spPr>
      <dgm:t>
        <a:bodyPr/>
        <a:lstStyle/>
        <a:p>
          <a:pPr>
            <a:buNone/>
          </a:pPr>
          <a:r>
            <a:rPr lang="en-US">
              <a:latin typeface="Segoe UI Light" panose="020B0502040204020203" pitchFamily="34" charset="0"/>
              <a:ea typeface="+mn-ea"/>
              <a:cs typeface="Segoe UI Light" panose="020B0502040204020203" pitchFamily="34" charset="0"/>
            </a:rPr>
            <a:t>Changing within Premium Tier of 250 GB database &lt; 3 hours</a:t>
          </a:r>
        </a:p>
      </dgm:t>
    </dgm:pt>
    <dgm:pt modelId="{ACB8B70E-A485-44C2-9107-F1FF75E43F72}" type="parTrans" cxnId="{1979C84D-983D-4D97-96CA-7B22FECDAE22}">
      <dgm:prSet/>
      <dgm:spPr>
        <a:xfrm>
          <a:off x="7434178" y="1925636"/>
          <a:ext cx="1850540" cy="880689"/>
        </a:xfrm>
        <a:custGeom>
          <a:avLst/>
          <a:gdLst/>
          <a:ahLst/>
          <a:cxnLst/>
          <a:rect l="0" t="0" r="0" b="0"/>
          <a:pathLst>
            <a:path>
              <a:moveTo>
                <a:pt x="0" y="0"/>
              </a:moveTo>
              <a:lnTo>
                <a:pt x="0" y="600163"/>
              </a:lnTo>
              <a:lnTo>
                <a:pt x="1850540" y="600163"/>
              </a:lnTo>
              <a:lnTo>
                <a:pt x="1850540" y="880689"/>
              </a:lnTo>
            </a:path>
          </a:pathLst>
        </a:custGeom>
      </dgm:spPr>
      <dgm:t>
        <a:bodyPr/>
        <a:lstStyle/>
        <a:p>
          <a:endParaRPr lang="nl-BE"/>
        </a:p>
      </dgm:t>
    </dgm:pt>
    <dgm:pt modelId="{3C13A5D9-B8A5-4631-951C-938866A61641}" type="sibTrans" cxnId="{1979C84D-983D-4D97-96CA-7B22FECDAE22}">
      <dgm:prSet/>
      <dgm:spPr/>
      <dgm:t>
        <a:bodyPr/>
        <a:lstStyle/>
        <a:p>
          <a:endParaRPr lang="nl-BE"/>
        </a:p>
      </dgm:t>
    </dgm:pt>
    <dgm:pt modelId="{C2DA60AC-A180-435D-BB29-01DCDF8A0BCC}" type="pres">
      <dgm:prSet presAssocID="{E7EEE80D-8286-480F-A640-701A504DA184}" presName="hierChild1" presStyleCnt="0">
        <dgm:presLayoutVars>
          <dgm:chPref val="1"/>
          <dgm:dir/>
          <dgm:animOne val="branch"/>
          <dgm:animLvl val="lvl"/>
          <dgm:resizeHandles/>
        </dgm:presLayoutVars>
      </dgm:prSet>
      <dgm:spPr/>
    </dgm:pt>
    <dgm:pt modelId="{36C4E5A3-5AE7-49FC-8E2C-3DA9B26FE248}" type="pres">
      <dgm:prSet presAssocID="{6766A2F4-7AE3-47C9-877B-6269277ED813}" presName="hierRoot1" presStyleCnt="0"/>
      <dgm:spPr/>
    </dgm:pt>
    <dgm:pt modelId="{67A610A3-62F7-45DF-B1D4-C263FB9E469D}" type="pres">
      <dgm:prSet presAssocID="{6766A2F4-7AE3-47C9-877B-6269277ED813}" presName="composite" presStyleCnt="0"/>
      <dgm:spPr/>
    </dgm:pt>
    <dgm:pt modelId="{6CFB21A6-47BD-40EC-8F74-EFFA459413E7}" type="pres">
      <dgm:prSet presAssocID="{6766A2F4-7AE3-47C9-877B-6269277ED813}" presName="background" presStyleLbl="node0" presStyleIdx="0" presStyleCnt="2"/>
      <dgm:spPr>
        <a:xfrm>
          <a:off x="368479" y="2756"/>
          <a:ext cx="3028157" cy="1922879"/>
        </a:xfrm>
        <a:prstGeom prst="roundRect">
          <a:avLst>
            <a:gd name="adj" fmla="val 10000"/>
          </a:avLst>
        </a:prstGeom>
      </dgm:spPr>
    </dgm:pt>
    <dgm:pt modelId="{D26FB68E-882E-429E-BEB5-2B2BDCB727F4}" type="pres">
      <dgm:prSet presAssocID="{6766A2F4-7AE3-47C9-877B-6269277ED813}" presName="text" presStyleLbl="fgAcc0" presStyleIdx="0" presStyleCnt="2">
        <dgm:presLayoutVars>
          <dgm:chPref val="3"/>
        </dgm:presLayoutVars>
      </dgm:prSet>
      <dgm:spPr/>
    </dgm:pt>
    <dgm:pt modelId="{C62C0BCC-81E8-4491-BEE0-38F44EFEEAB5}" type="pres">
      <dgm:prSet presAssocID="{6766A2F4-7AE3-47C9-877B-6269277ED813}" presName="hierChild2" presStyleCnt="0"/>
      <dgm:spPr/>
    </dgm:pt>
    <dgm:pt modelId="{7C6F2923-C370-4403-A1DA-DF7AFC45A501}" type="pres">
      <dgm:prSet presAssocID="{32E43D76-28A8-472F-844F-C3376927601F}" presName="Name10" presStyleLbl="parChTrans1D2" presStyleIdx="0" presStyleCnt="3"/>
      <dgm:spPr/>
    </dgm:pt>
    <dgm:pt modelId="{105A6861-9669-47EE-B620-430C203731B1}" type="pres">
      <dgm:prSet presAssocID="{D47F3622-5193-4D1A-8EC9-8DC34A48F21F}" presName="hierRoot2" presStyleCnt="0"/>
      <dgm:spPr/>
    </dgm:pt>
    <dgm:pt modelId="{222972AB-56AF-4754-8AAC-556BAA75B5E4}" type="pres">
      <dgm:prSet presAssocID="{D47F3622-5193-4D1A-8EC9-8DC34A48F21F}" presName="composite2" presStyleCnt="0"/>
      <dgm:spPr/>
    </dgm:pt>
    <dgm:pt modelId="{F6BFB906-9225-4F02-A8B1-4E2B3E4B8A4B}" type="pres">
      <dgm:prSet presAssocID="{D47F3622-5193-4D1A-8EC9-8DC34A48F21F}" presName="background2" presStyleLbl="node2" presStyleIdx="0" presStyleCnt="3"/>
      <dgm:spPr>
        <a:xfrm>
          <a:off x="368479" y="2806325"/>
          <a:ext cx="3028157" cy="1922879"/>
        </a:xfrm>
        <a:prstGeom prst="roundRect">
          <a:avLst>
            <a:gd name="adj" fmla="val 10000"/>
          </a:avLst>
        </a:prstGeom>
      </dgm:spPr>
    </dgm:pt>
    <dgm:pt modelId="{C6FFB695-12F6-4B49-954F-2A953247FC76}" type="pres">
      <dgm:prSet presAssocID="{D47F3622-5193-4D1A-8EC9-8DC34A48F21F}" presName="text2" presStyleLbl="fgAcc2" presStyleIdx="0" presStyleCnt="3" custLinFactNeighborX="-834" custLinFactNeighborY="-13102">
        <dgm:presLayoutVars>
          <dgm:chPref val="3"/>
        </dgm:presLayoutVars>
      </dgm:prSet>
      <dgm:spPr/>
    </dgm:pt>
    <dgm:pt modelId="{FFB3C77A-8269-4482-AECB-568BDDDE7910}" type="pres">
      <dgm:prSet presAssocID="{D47F3622-5193-4D1A-8EC9-8DC34A48F21F}" presName="hierChild3" presStyleCnt="0"/>
      <dgm:spPr/>
    </dgm:pt>
    <dgm:pt modelId="{7070C9F4-B023-4CDB-870E-76BE5CE4809E}" type="pres">
      <dgm:prSet presAssocID="{37143C0E-28F5-47F4-89BF-47772C8038C2}" presName="hierRoot1" presStyleCnt="0"/>
      <dgm:spPr/>
    </dgm:pt>
    <dgm:pt modelId="{3A14AB93-F578-4F14-AF11-65BC745343A2}" type="pres">
      <dgm:prSet presAssocID="{37143C0E-28F5-47F4-89BF-47772C8038C2}" presName="composite" presStyleCnt="0"/>
      <dgm:spPr/>
    </dgm:pt>
    <dgm:pt modelId="{8F2EA5A1-C764-42E7-A02D-B972F6F17D2B}" type="pres">
      <dgm:prSet presAssocID="{37143C0E-28F5-47F4-89BF-47772C8038C2}" presName="background" presStyleLbl="node0" presStyleIdx="1" presStyleCnt="2"/>
      <dgm:spPr>
        <a:xfrm>
          <a:off x="5920100" y="2756"/>
          <a:ext cx="3028157" cy="1922879"/>
        </a:xfrm>
        <a:prstGeom prst="roundRect">
          <a:avLst>
            <a:gd name="adj" fmla="val 10000"/>
          </a:avLst>
        </a:prstGeom>
      </dgm:spPr>
    </dgm:pt>
    <dgm:pt modelId="{453CEE82-08A8-4DF0-A527-91296AB16263}" type="pres">
      <dgm:prSet presAssocID="{37143C0E-28F5-47F4-89BF-47772C8038C2}" presName="text" presStyleLbl="fgAcc0" presStyleIdx="1" presStyleCnt="2">
        <dgm:presLayoutVars>
          <dgm:chPref val="3"/>
        </dgm:presLayoutVars>
      </dgm:prSet>
      <dgm:spPr/>
    </dgm:pt>
    <dgm:pt modelId="{F1882026-A121-4BCE-83A6-D7435C101013}" type="pres">
      <dgm:prSet presAssocID="{37143C0E-28F5-47F4-89BF-47772C8038C2}" presName="hierChild2" presStyleCnt="0"/>
      <dgm:spPr/>
    </dgm:pt>
    <dgm:pt modelId="{3C0A8D6C-BF2D-4F79-8FBC-6F31BD1EA31A}" type="pres">
      <dgm:prSet presAssocID="{D7DC76DA-9371-4E10-B640-F05D7DB536D3}" presName="Name10" presStyleLbl="parChTrans1D2" presStyleIdx="1" presStyleCnt="3"/>
      <dgm:spPr/>
    </dgm:pt>
    <dgm:pt modelId="{0D43703F-8C3B-4EE5-AA71-6290B41C9905}" type="pres">
      <dgm:prSet presAssocID="{BB531CB1-5E72-4F47-B0C4-5E92D1540DD5}" presName="hierRoot2" presStyleCnt="0"/>
      <dgm:spPr/>
    </dgm:pt>
    <dgm:pt modelId="{4126A9F2-B7A4-40ED-A53B-EB9ED436E39D}" type="pres">
      <dgm:prSet presAssocID="{BB531CB1-5E72-4F47-B0C4-5E92D1540DD5}" presName="composite2" presStyleCnt="0"/>
      <dgm:spPr/>
    </dgm:pt>
    <dgm:pt modelId="{8CF29249-357E-43B3-AC83-F7C653049AC5}" type="pres">
      <dgm:prSet presAssocID="{BB531CB1-5E72-4F47-B0C4-5E92D1540DD5}" presName="background2" presStyleLbl="node2" presStyleIdx="1" presStyleCnt="3"/>
      <dgm:spPr>
        <a:xfrm>
          <a:off x="4069560" y="2806325"/>
          <a:ext cx="3028157" cy="1922879"/>
        </a:xfrm>
        <a:prstGeom prst="roundRect">
          <a:avLst>
            <a:gd name="adj" fmla="val 10000"/>
          </a:avLst>
        </a:prstGeom>
      </dgm:spPr>
    </dgm:pt>
    <dgm:pt modelId="{CE059BC6-2A05-416D-885A-A8DDA7CD5318}" type="pres">
      <dgm:prSet presAssocID="{BB531CB1-5E72-4F47-B0C4-5E92D1540DD5}" presName="text2" presStyleLbl="fgAcc2" presStyleIdx="1" presStyleCnt="3" custLinFactNeighborX="247" custLinFactNeighborY="-14770">
        <dgm:presLayoutVars>
          <dgm:chPref val="3"/>
        </dgm:presLayoutVars>
      </dgm:prSet>
      <dgm:spPr/>
    </dgm:pt>
    <dgm:pt modelId="{66A3843A-B153-4177-AD89-6B95ABCEE6C6}" type="pres">
      <dgm:prSet presAssocID="{BB531CB1-5E72-4F47-B0C4-5E92D1540DD5}" presName="hierChild3" presStyleCnt="0"/>
      <dgm:spPr/>
    </dgm:pt>
    <dgm:pt modelId="{B0BE7DBB-32F0-40DF-8822-6095551EC7C9}" type="pres">
      <dgm:prSet presAssocID="{ACB8B70E-A485-44C2-9107-F1FF75E43F72}" presName="Name10" presStyleLbl="parChTrans1D2" presStyleIdx="2" presStyleCnt="3"/>
      <dgm:spPr/>
    </dgm:pt>
    <dgm:pt modelId="{FBE4916B-2F0D-4D80-9CDB-0C4C1E7A9D88}" type="pres">
      <dgm:prSet presAssocID="{E90313FC-7100-4B28-9E05-EC0AFDBFBE99}" presName="hierRoot2" presStyleCnt="0"/>
      <dgm:spPr/>
    </dgm:pt>
    <dgm:pt modelId="{F6B7220B-B0B0-4051-AEC9-F0C30D4FBEF6}" type="pres">
      <dgm:prSet presAssocID="{E90313FC-7100-4B28-9E05-EC0AFDBFBE99}" presName="composite2" presStyleCnt="0"/>
      <dgm:spPr/>
    </dgm:pt>
    <dgm:pt modelId="{B4A8C4BD-2535-436E-9882-E51AD093563B}" type="pres">
      <dgm:prSet presAssocID="{E90313FC-7100-4B28-9E05-EC0AFDBFBE99}" presName="background2" presStyleLbl="node2" presStyleIdx="2" presStyleCnt="3"/>
      <dgm:spPr>
        <a:xfrm>
          <a:off x="7770640" y="2806325"/>
          <a:ext cx="3028157" cy="1922879"/>
        </a:xfrm>
        <a:prstGeom prst="roundRect">
          <a:avLst>
            <a:gd name="adj" fmla="val 10000"/>
          </a:avLst>
        </a:prstGeom>
      </dgm:spPr>
    </dgm:pt>
    <dgm:pt modelId="{97F49690-8A88-48E8-A756-88E402C74DEC}" type="pres">
      <dgm:prSet presAssocID="{E90313FC-7100-4B28-9E05-EC0AFDBFBE99}" presName="text2" presStyleLbl="fgAcc2" presStyleIdx="2" presStyleCnt="3" custLinFactNeighborX="330" custLinFactNeighborY="-14770">
        <dgm:presLayoutVars>
          <dgm:chPref val="3"/>
        </dgm:presLayoutVars>
      </dgm:prSet>
      <dgm:spPr/>
    </dgm:pt>
    <dgm:pt modelId="{9F623DC9-DF90-46FF-9E2D-7CF9E192AFA9}" type="pres">
      <dgm:prSet presAssocID="{E90313FC-7100-4B28-9E05-EC0AFDBFBE99}" presName="hierChild3" presStyleCnt="0"/>
      <dgm:spPr/>
    </dgm:pt>
  </dgm:ptLst>
  <dgm:cxnLst>
    <dgm:cxn modelId="{D551421A-CB8E-4B21-8035-A3147638E0E5}" type="presOf" srcId="{37143C0E-28F5-47F4-89BF-47772C8038C2}" destId="{453CEE82-08A8-4DF0-A527-91296AB16263}" srcOrd="0" destOrd="0" presId="urn:microsoft.com/office/officeart/2005/8/layout/hierarchy1"/>
    <dgm:cxn modelId="{4DD3C81D-91B1-4D6F-B031-B8CEACFC2897}" type="presOf" srcId="{32E43D76-28A8-472F-844F-C3376927601F}" destId="{7C6F2923-C370-4403-A1DA-DF7AFC45A501}" srcOrd="0" destOrd="0" presId="urn:microsoft.com/office/officeart/2005/8/layout/hierarchy1"/>
    <dgm:cxn modelId="{06393332-1CE8-47D3-BB68-84426CB5564F}" type="presOf" srcId="{D7DC76DA-9371-4E10-B640-F05D7DB536D3}" destId="{3C0A8D6C-BF2D-4F79-8FBC-6F31BD1EA31A}" srcOrd="0" destOrd="0" presId="urn:microsoft.com/office/officeart/2005/8/layout/hierarchy1"/>
    <dgm:cxn modelId="{DC1B1F3A-8CE5-4E48-8A78-9A92EBAE3AD0}" type="presOf" srcId="{E7EEE80D-8286-480F-A640-701A504DA184}" destId="{C2DA60AC-A180-435D-BB29-01DCDF8A0BCC}" srcOrd="0" destOrd="0" presId="urn:microsoft.com/office/officeart/2005/8/layout/hierarchy1"/>
    <dgm:cxn modelId="{856DF25B-357B-465C-BCCB-821E8093C8DA}" type="presOf" srcId="{ACB8B70E-A485-44C2-9107-F1FF75E43F72}" destId="{B0BE7DBB-32F0-40DF-8822-6095551EC7C9}" srcOrd="0" destOrd="0" presId="urn:microsoft.com/office/officeart/2005/8/layout/hierarchy1"/>
    <dgm:cxn modelId="{EC3A534C-9B73-4C9E-ABF5-57FF9928EF36}" srcId="{E7EEE80D-8286-480F-A640-701A504DA184}" destId="{6766A2F4-7AE3-47C9-877B-6269277ED813}" srcOrd="0" destOrd="0" parTransId="{E47B7FB8-5F5D-4F09-88E9-C9D28545EC4C}" sibTransId="{F1A48864-8C48-4F94-9933-692E81CC9CCD}"/>
    <dgm:cxn modelId="{1979C84D-983D-4D97-96CA-7B22FECDAE22}" srcId="{37143C0E-28F5-47F4-89BF-47772C8038C2}" destId="{E90313FC-7100-4B28-9E05-EC0AFDBFBE99}" srcOrd="1" destOrd="0" parTransId="{ACB8B70E-A485-44C2-9107-F1FF75E43F72}" sibTransId="{3C13A5D9-B8A5-4631-951C-938866A61641}"/>
    <dgm:cxn modelId="{7C5FEF8B-77BC-47CF-A156-30830D0D8227}" type="presOf" srcId="{BB531CB1-5E72-4F47-B0C4-5E92D1540DD5}" destId="{CE059BC6-2A05-416D-885A-A8DDA7CD5318}" srcOrd="0" destOrd="0" presId="urn:microsoft.com/office/officeart/2005/8/layout/hierarchy1"/>
    <dgm:cxn modelId="{D40DA58E-B345-43F9-A88A-592C2B6104FD}" type="presOf" srcId="{E90313FC-7100-4B28-9E05-EC0AFDBFBE99}" destId="{97F49690-8A88-48E8-A756-88E402C74DEC}" srcOrd="0" destOrd="0" presId="urn:microsoft.com/office/officeart/2005/8/layout/hierarchy1"/>
    <dgm:cxn modelId="{3E2AD3A9-0CD9-4760-856D-2E808E367BA0}" type="presOf" srcId="{6766A2F4-7AE3-47C9-877B-6269277ED813}" destId="{D26FB68E-882E-429E-BEB5-2B2BDCB727F4}" srcOrd="0" destOrd="0" presId="urn:microsoft.com/office/officeart/2005/8/layout/hierarchy1"/>
    <dgm:cxn modelId="{1BB23CB0-1003-46C0-BD84-09BF21EBD03F}" type="presOf" srcId="{D47F3622-5193-4D1A-8EC9-8DC34A48F21F}" destId="{C6FFB695-12F6-4B49-954F-2A953247FC76}" srcOrd="0" destOrd="0" presId="urn:microsoft.com/office/officeart/2005/8/layout/hierarchy1"/>
    <dgm:cxn modelId="{2CFE73CA-4B8C-4917-9BE9-7E199BEB374A}" srcId="{6766A2F4-7AE3-47C9-877B-6269277ED813}" destId="{D47F3622-5193-4D1A-8EC9-8DC34A48F21F}" srcOrd="0" destOrd="0" parTransId="{32E43D76-28A8-472F-844F-C3376927601F}" sibTransId="{6EAE9AAD-775B-4AA2-90AF-A82C4CE5C79C}"/>
    <dgm:cxn modelId="{70EE15DF-0F95-42C4-8909-B155C58A2B84}" srcId="{37143C0E-28F5-47F4-89BF-47772C8038C2}" destId="{BB531CB1-5E72-4F47-B0C4-5E92D1540DD5}" srcOrd="0" destOrd="0" parTransId="{D7DC76DA-9371-4E10-B640-F05D7DB536D3}" sibTransId="{6CDCF799-174A-49E2-B20A-4FAC6760A1AD}"/>
    <dgm:cxn modelId="{19DFACF9-57FC-494C-92DE-AE11F0D30F9B}" srcId="{E7EEE80D-8286-480F-A640-701A504DA184}" destId="{37143C0E-28F5-47F4-89BF-47772C8038C2}" srcOrd="1" destOrd="0" parTransId="{B3C14FAB-DF82-4401-BA40-E13D9337C3BC}" sibTransId="{3E737093-5710-4340-8684-01E96F7E40D5}"/>
    <dgm:cxn modelId="{79A95DAC-E8C1-413C-A827-0F69A1B46B15}" type="presParOf" srcId="{C2DA60AC-A180-435D-BB29-01DCDF8A0BCC}" destId="{36C4E5A3-5AE7-49FC-8E2C-3DA9B26FE248}" srcOrd="0" destOrd="0" presId="urn:microsoft.com/office/officeart/2005/8/layout/hierarchy1"/>
    <dgm:cxn modelId="{2B60F501-F4E4-448A-83B5-EDCABF327ABD}" type="presParOf" srcId="{36C4E5A3-5AE7-49FC-8E2C-3DA9B26FE248}" destId="{67A610A3-62F7-45DF-B1D4-C263FB9E469D}" srcOrd="0" destOrd="0" presId="urn:microsoft.com/office/officeart/2005/8/layout/hierarchy1"/>
    <dgm:cxn modelId="{99399C56-E635-47CE-B79A-D03C5A824257}" type="presParOf" srcId="{67A610A3-62F7-45DF-B1D4-C263FB9E469D}" destId="{6CFB21A6-47BD-40EC-8F74-EFFA459413E7}" srcOrd="0" destOrd="0" presId="urn:microsoft.com/office/officeart/2005/8/layout/hierarchy1"/>
    <dgm:cxn modelId="{4BBC7A27-23CD-410A-9796-447D79C386B3}" type="presParOf" srcId="{67A610A3-62F7-45DF-B1D4-C263FB9E469D}" destId="{D26FB68E-882E-429E-BEB5-2B2BDCB727F4}" srcOrd="1" destOrd="0" presId="urn:microsoft.com/office/officeart/2005/8/layout/hierarchy1"/>
    <dgm:cxn modelId="{2A88F10E-C41C-4E12-96E3-EB02808729B4}" type="presParOf" srcId="{36C4E5A3-5AE7-49FC-8E2C-3DA9B26FE248}" destId="{C62C0BCC-81E8-4491-BEE0-38F44EFEEAB5}" srcOrd="1" destOrd="0" presId="urn:microsoft.com/office/officeart/2005/8/layout/hierarchy1"/>
    <dgm:cxn modelId="{17228601-99AE-4848-8C20-F85C689BEE92}" type="presParOf" srcId="{C62C0BCC-81E8-4491-BEE0-38F44EFEEAB5}" destId="{7C6F2923-C370-4403-A1DA-DF7AFC45A501}" srcOrd="0" destOrd="0" presId="urn:microsoft.com/office/officeart/2005/8/layout/hierarchy1"/>
    <dgm:cxn modelId="{8F09AA98-AF41-4766-87B1-BC93C88898ED}" type="presParOf" srcId="{C62C0BCC-81E8-4491-BEE0-38F44EFEEAB5}" destId="{105A6861-9669-47EE-B620-430C203731B1}" srcOrd="1" destOrd="0" presId="urn:microsoft.com/office/officeart/2005/8/layout/hierarchy1"/>
    <dgm:cxn modelId="{C46382CE-6F87-451A-AEB0-A93BCE3F843E}" type="presParOf" srcId="{105A6861-9669-47EE-B620-430C203731B1}" destId="{222972AB-56AF-4754-8AAC-556BAA75B5E4}" srcOrd="0" destOrd="0" presId="urn:microsoft.com/office/officeart/2005/8/layout/hierarchy1"/>
    <dgm:cxn modelId="{1EE96725-FE27-4A4F-884B-3A12BFE8ED1D}" type="presParOf" srcId="{222972AB-56AF-4754-8AAC-556BAA75B5E4}" destId="{F6BFB906-9225-4F02-A8B1-4E2B3E4B8A4B}" srcOrd="0" destOrd="0" presId="urn:microsoft.com/office/officeart/2005/8/layout/hierarchy1"/>
    <dgm:cxn modelId="{3A83050D-BBAA-4493-A56B-16BE6A4993B9}" type="presParOf" srcId="{222972AB-56AF-4754-8AAC-556BAA75B5E4}" destId="{C6FFB695-12F6-4B49-954F-2A953247FC76}" srcOrd="1" destOrd="0" presId="urn:microsoft.com/office/officeart/2005/8/layout/hierarchy1"/>
    <dgm:cxn modelId="{1AF974BC-21C4-4C1B-B0BB-B4D31047564B}" type="presParOf" srcId="{105A6861-9669-47EE-B620-430C203731B1}" destId="{FFB3C77A-8269-4482-AECB-568BDDDE7910}" srcOrd="1" destOrd="0" presId="urn:microsoft.com/office/officeart/2005/8/layout/hierarchy1"/>
    <dgm:cxn modelId="{E3B8B1BB-30F9-41ED-AA5B-43B6224A3884}" type="presParOf" srcId="{C2DA60AC-A180-435D-BB29-01DCDF8A0BCC}" destId="{7070C9F4-B023-4CDB-870E-76BE5CE4809E}" srcOrd="1" destOrd="0" presId="urn:microsoft.com/office/officeart/2005/8/layout/hierarchy1"/>
    <dgm:cxn modelId="{8D216B2E-E8EE-41BF-BC37-FB8C7E13ECFB}" type="presParOf" srcId="{7070C9F4-B023-4CDB-870E-76BE5CE4809E}" destId="{3A14AB93-F578-4F14-AF11-65BC745343A2}" srcOrd="0" destOrd="0" presId="urn:microsoft.com/office/officeart/2005/8/layout/hierarchy1"/>
    <dgm:cxn modelId="{3C1E601F-B75E-449F-B656-999A8A2345A8}" type="presParOf" srcId="{3A14AB93-F578-4F14-AF11-65BC745343A2}" destId="{8F2EA5A1-C764-42E7-A02D-B972F6F17D2B}" srcOrd="0" destOrd="0" presId="urn:microsoft.com/office/officeart/2005/8/layout/hierarchy1"/>
    <dgm:cxn modelId="{A4150517-FEBF-4657-BA10-21056E9A62AB}" type="presParOf" srcId="{3A14AB93-F578-4F14-AF11-65BC745343A2}" destId="{453CEE82-08A8-4DF0-A527-91296AB16263}" srcOrd="1" destOrd="0" presId="urn:microsoft.com/office/officeart/2005/8/layout/hierarchy1"/>
    <dgm:cxn modelId="{D05C65FF-7AA4-497B-9634-84B64618DBB1}" type="presParOf" srcId="{7070C9F4-B023-4CDB-870E-76BE5CE4809E}" destId="{F1882026-A121-4BCE-83A6-D7435C101013}" srcOrd="1" destOrd="0" presId="urn:microsoft.com/office/officeart/2005/8/layout/hierarchy1"/>
    <dgm:cxn modelId="{6D43357C-CF75-43AE-B367-D78C77F72B53}" type="presParOf" srcId="{F1882026-A121-4BCE-83A6-D7435C101013}" destId="{3C0A8D6C-BF2D-4F79-8FBC-6F31BD1EA31A}" srcOrd="0" destOrd="0" presId="urn:microsoft.com/office/officeart/2005/8/layout/hierarchy1"/>
    <dgm:cxn modelId="{9F8CBE88-1FFE-49D1-911F-4EB2C76C2063}" type="presParOf" srcId="{F1882026-A121-4BCE-83A6-D7435C101013}" destId="{0D43703F-8C3B-4EE5-AA71-6290B41C9905}" srcOrd="1" destOrd="0" presId="urn:microsoft.com/office/officeart/2005/8/layout/hierarchy1"/>
    <dgm:cxn modelId="{8D89F92C-8CF8-4192-AAE2-CA76715888E7}" type="presParOf" srcId="{0D43703F-8C3B-4EE5-AA71-6290B41C9905}" destId="{4126A9F2-B7A4-40ED-A53B-EB9ED436E39D}" srcOrd="0" destOrd="0" presId="urn:microsoft.com/office/officeart/2005/8/layout/hierarchy1"/>
    <dgm:cxn modelId="{5340E618-C07A-4E15-9400-48AF789CA4AE}" type="presParOf" srcId="{4126A9F2-B7A4-40ED-A53B-EB9ED436E39D}" destId="{8CF29249-357E-43B3-AC83-F7C653049AC5}" srcOrd="0" destOrd="0" presId="urn:microsoft.com/office/officeart/2005/8/layout/hierarchy1"/>
    <dgm:cxn modelId="{D8F54CDD-53C4-4905-8EE2-2CF20BF04260}" type="presParOf" srcId="{4126A9F2-B7A4-40ED-A53B-EB9ED436E39D}" destId="{CE059BC6-2A05-416D-885A-A8DDA7CD5318}" srcOrd="1" destOrd="0" presId="urn:microsoft.com/office/officeart/2005/8/layout/hierarchy1"/>
    <dgm:cxn modelId="{FC0D852C-7CA4-4B59-BE24-0BF2F793F22A}" type="presParOf" srcId="{0D43703F-8C3B-4EE5-AA71-6290B41C9905}" destId="{66A3843A-B153-4177-AD89-6B95ABCEE6C6}" srcOrd="1" destOrd="0" presId="urn:microsoft.com/office/officeart/2005/8/layout/hierarchy1"/>
    <dgm:cxn modelId="{30B07B4A-3650-4821-A75F-3DD63DA8E2F6}" type="presParOf" srcId="{F1882026-A121-4BCE-83A6-D7435C101013}" destId="{B0BE7DBB-32F0-40DF-8822-6095551EC7C9}" srcOrd="2" destOrd="0" presId="urn:microsoft.com/office/officeart/2005/8/layout/hierarchy1"/>
    <dgm:cxn modelId="{47C0C3D0-97BD-481D-894E-3F083D4FA56D}" type="presParOf" srcId="{F1882026-A121-4BCE-83A6-D7435C101013}" destId="{FBE4916B-2F0D-4D80-9CDB-0C4C1E7A9D88}" srcOrd="3" destOrd="0" presId="urn:microsoft.com/office/officeart/2005/8/layout/hierarchy1"/>
    <dgm:cxn modelId="{9A59C078-A7AC-42FF-92B5-089C54DC53F0}" type="presParOf" srcId="{FBE4916B-2F0D-4D80-9CDB-0C4C1E7A9D88}" destId="{F6B7220B-B0B0-4051-AEC9-F0C30D4FBEF6}" srcOrd="0" destOrd="0" presId="urn:microsoft.com/office/officeart/2005/8/layout/hierarchy1"/>
    <dgm:cxn modelId="{82325430-43F3-401E-A5D0-9AAFDFA133C1}" type="presParOf" srcId="{F6B7220B-B0B0-4051-AEC9-F0C30D4FBEF6}" destId="{B4A8C4BD-2535-436E-9882-E51AD093563B}" srcOrd="0" destOrd="0" presId="urn:microsoft.com/office/officeart/2005/8/layout/hierarchy1"/>
    <dgm:cxn modelId="{B4932DB8-265D-4C3E-86B9-2921BE5A3CF9}" type="presParOf" srcId="{F6B7220B-B0B0-4051-AEC9-F0C30D4FBEF6}" destId="{97F49690-8A88-48E8-A756-88E402C74DEC}" srcOrd="1" destOrd="0" presId="urn:microsoft.com/office/officeart/2005/8/layout/hierarchy1"/>
    <dgm:cxn modelId="{C0A2B350-65D2-480E-BC0D-CB5C614D76D0}" type="presParOf" srcId="{FBE4916B-2F0D-4D80-9CDB-0C4C1E7A9D88}" destId="{9F623DC9-DF90-46FF-9E2D-7CF9E192AFA9}"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E7EEE80D-8286-480F-A640-701A504DA184}" type="doc">
      <dgm:prSet loTypeId="urn:microsoft.com/office/officeart/2005/8/layout/hierarchy1" loCatId="hierarchy" qsTypeId="urn:microsoft.com/office/officeart/2005/8/quickstyle/simple1" qsCatId="simple" csTypeId="urn:microsoft.com/office/officeart/2005/8/colors/accent0_3" csCatId="mainScheme" phldr="1"/>
      <dgm:spPr/>
      <dgm:t>
        <a:bodyPr/>
        <a:lstStyle/>
        <a:p>
          <a:endParaRPr lang="en-US"/>
        </a:p>
      </dgm:t>
    </dgm:pt>
    <dgm:pt modelId="{D95DC8A3-50A6-47B8-BEE8-6E04B59E87CB}">
      <dgm:prSet custT="1"/>
      <dgm:spPr>
        <a:xfrm>
          <a:off x="549067" y="1220992"/>
          <a:ext cx="4928970" cy="3129896"/>
        </a:xfrm>
        <a:prstGeom prst="roundRect">
          <a:avLst>
            <a:gd name="adj" fmla="val 10000"/>
          </a:avLst>
        </a:prstGeom>
      </dgm:spPr>
      <dgm:t>
        <a:bodyPr/>
        <a:lstStyle/>
        <a:p>
          <a:pPr>
            <a:buNone/>
          </a:pPr>
          <a:r>
            <a:rPr lang="en-US" sz="2400" dirty="0">
              <a:latin typeface="Segoe UI Light" panose="020B0502040204020203" pitchFamily="34" charset="0"/>
              <a:ea typeface="+mn-ea"/>
              <a:cs typeface="Segoe UI Light" panose="020B0502040204020203" pitchFamily="34" charset="0"/>
            </a:rPr>
            <a:t>Downgrading the service tier can cause a change in the backup retention periods.</a:t>
          </a:r>
          <a:endParaRPr lang="en-US" sz="2400" dirty="0">
            <a:latin typeface="Consolas" panose="020B0609020204030204" pitchFamily="49" charset="0"/>
            <a:ea typeface="+mn-ea"/>
            <a:cs typeface="+mn-cs"/>
          </a:endParaRPr>
        </a:p>
      </dgm:t>
    </dgm:pt>
    <dgm:pt modelId="{B11A36EB-ADBB-4C32-8007-9FC3E52EB725}" type="parTrans" cxnId="{77BBAB61-645E-40A3-B681-161C8EAC4E98}">
      <dgm:prSet/>
      <dgm:spPr/>
      <dgm:t>
        <a:bodyPr/>
        <a:lstStyle/>
        <a:p>
          <a:endParaRPr lang="en-US"/>
        </a:p>
      </dgm:t>
    </dgm:pt>
    <dgm:pt modelId="{7AF2001A-3B6B-49B4-BA8C-BF246A6FECCD}" type="sibTrans" cxnId="{77BBAB61-645E-40A3-B681-161C8EAC4E98}">
      <dgm:prSet/>
      <dgm:spPr/>
      <dgm:t>
        <a:bodyPr/>
        <a:lstStyle/>
        <a:p>
          <a:endParaRPr lang="en-US"/>
        </a:p>
      </dgm:t>
    </dgm:pt>
    <dgm:pt modelId="{DB1F89A2-BB74-4C00-88F2-500BF96AE4A7}">
      <dgm:prSet custT="1"/>
      <dgm:spPr>
        <a:xfrm>
          <a:off x="6573364" y="1220992"/>
          <a:ext cx="4928970" cy="3129896"/>
        </a:xfrm>
        <a:prstGeom prst="roundRect">
          <a:avLst>
            <a:gd name="adj" fmla="val 10000"/>
          </a:avLst>
        </a:prstGeom>
      </dgm:spPr>
      <dgm:t>
        <a:bodyPr/>
        <a:lstStyle/>
        <a:p>
          <a:pPr>
            <a:buNone/>
          </a:pPr>
          <a:r>
            <a:rPr lang="en-US" sz="2400" dirty="0">
              <a:latin typeface="Segoe UI Light" panose="020B0502040204020203" pitchFamily="34" charset="0"/>
              <a:ea typeface="+mn-ea"/>
              <a:cs typeface="Segoe UI Light" panose="020B0502040204020203" pitchFamily="34" charset="0"/>
            </a:rPr>
            <a:t>Changing your database pricing tier does not automatically change the max database size. </a:t>
          </a:r>
          <a:endParaRPr lang="en-US" sz="2400" dirty="0">
            <a:latin typeface="Consolas" panose="020B0609020204030204" pitchFamily="49" charset="0"/>
            <a:ea typeface="+mn-ea"/>
            <a:cs typeface="+mn-cs"/>
          </a:endParaRPr>
        </a:p>
      </dgm:t>
    </dgm:pt>
    <dgm:pt modelId="{4CE6863C-90A1-437E-8A35-E651991ECE58}" type="parTrans" cxnId="{517F0C81-5E8C-4DDF-8604-9C6496027A74}">
      <dgm:prSet/>
      <dgm:spPr/>
      <dgm:t>
        <a:bodyPr/>
        <a:lstStyle/>
        <a:p>
          <a:endParaRPr lang="en-US"/>
        </a:p>
      </dgm:t>
    </dgm:pt>
    <dgm:pt modelId="{76FA9716-4F8F-465F-BFDC-D5F590B578DB}" type="sibTrans" cxnId="{517F0C81-5E8C-4DDF-8604-9C6496027A74}">
      <dgm:prSet/>
      <dgm:spPr/>
      <dgm:t>
        <a:bodyPr/>
        <a:lstStyle/>
        <a:p>
          <a:endParaRPr lang="en-US"/>
        </a:p>
      </dgm:t>
    </dgm:pt>
    <dgm:pt modelId="{C2DA60AC-A180-435D-BB29-01DCDF8A0BCC}" type="pres">
      <dgm:prSet presAssocID="{E7EEE80D-8286-480F-A640-701A504DA184}" presName="hierChild1" presStyleCnt="0">
        <dgm:presLayoutVars>
          <dgm:chPref val="1"/>
          <dgm:dir/>
          <dgm:animOne val="branch"/>
          <dgm:animLvl val="lvl"/>
          <dgm:resizeHandles/>
        </dgm:presLayoutVars>
      </dgm:prSet>
      <dgm:spPr/>
    </dgm:pt>
    <dgm:pt modelId="{1BA633F5-3EA0-48E3-AA70-E1ED91628758}" type="pres">
      <dgm:prSet presAssocID="{D95DC8A3-50A6-47B8-BEE8-6E04B59E87CB}" presName="hierRoot1" presStyleCnt="0"/>
      <dgm:spPr/>
    </dgm:pt>
    <dgm:pt modelId="{DAABF1EE-1C91-4A22-B7BC-66AFD753DEBC}" type="pres">
      <dgm:prSet presAssocID="{D95DC8A3-50A6-47B8-BEE8-6E04B59E87CB}" presName="composite" presStyleCnt="0"/>
      <dgm:spPr/>
    </dgm:pt>
    <dgm:pt modelId="{2BD3D634-1005-4123-81DA-D24DD99A8260}" type="pres">
      <dgm:prSet presAssocID="{D95DC8A3-50A6-47B8-BEE8-6E04B59E87CB}" presName="background" presStyleLbl="node0" presStyleIdx="0" presStyleCnt="2"/>
      <dgm:spPr>
        <a:xfrm>
          <a:off x="1404" y="700712"/>
          <a:ext cx="4928970" cy="3129896"/>
        </a:xfrm>
        <a:prstGeom prst="roundRect">
          <a:avLst>
            <a:gd name="adj" fmla="val 10000"/>
          </a:avLst>
        </a:prstGeom>
      </dgm:spPr>
    </dgm:pt>
    <dgm:pt modelId="{2EE64E4A-3D71-48A3-A9A5-7E1E9F678A28}" type="pres">
      <dgm:prSet presAssocID="{D95DC8A3-50A6-47B8-BEE8-6E04B59E87CB}" presName="text" presStyleLbl="fgAcc0" presStyleIdx="0" presStyleCnt="2" custScaleX="62093" custScaleY="62093">
        <dgm:presLayoutVars>
          <dgm:chPref val="3"/>
        </dgm:presLayoutVars>
      </dgm:prSet>
      <dgm:spPr/>
    </dgm:pt>
    <dgm:pt modelId="{64B73694-E08A-45F4-881C-E4766F45C406}" type="pres">
      <dgm:prSet presAssocID="{D95DC8A3-50A6-47B8-BEE8-6E04B59E87CB}" presName="hierChild2" presStyleCnt="0"/>
      <dgm:spPr/>
    </dgm:pt>
    <dgm:pt modelId="{1672AEBE-6B34-4FAD-AE2E-8A40D32650DA}" type="pres">
      <dgm:prSet presAssocID="{DB1F89A2-BB74-4C00-88F2-500BF96AE4A7}" presName="hierRoot1" presStyleCnt="0"/>
      <dgm:spPr/>
    </dgm:pt>
    <dgm:pt modelId="{275EF1F7-B480-4755-80DF-6AA472E6F47D}" type="pres">
      <dgm:prSet presAssocID="{DB1F89A2-BB74-4C00-88F2-500BF96AE4A7}" presName="composite" presStyleCnt="0"/>
      <dgm:spPr/>
    </dgm:pt>
    <dgm:pt modelId="{21CCEC3D-354E-459A-AC66-B20B2646CBB0}" type="pres">
      <dgm:prSet presAssocID="{DB1F89A2-BB74-4C00-88F2-500BF96AE4A7}" presName="background" presStyleLbl="node0" presStyleIdx="1" presStyleCnt="2"/>
      <dgm:spPr>
        <a:xfrm>
          <a:off x="6025701" y="700712"/>
          <a:ext cx="4928970" cy="3129896"/>
        </a:xfrm>
        <a:prstGeom prst="roundRect">
          <a:avLst>
            <a:gd name="adj" fmla="val 10000"/>
          </a:avLst>
        </a:prstGeom>
      </dgm:spPr>
    </dgm:pt>
    <dgm:pt modelId="{7DC07CFC-D85C-4303-BEB9-9141D4CA4F29}" type="pres">
      <dgm:prSet presAssocID="{DB1F89A2-BB74-4C00-88F2-500BF96AE4A7}" presName="text" presStyleLbl="fgAcc0" presStyleIdx="1" presStyleCnt="2" custScaleX="62093" custScaleY="62093" custLinFactNeighborX="-3463" custLinFactNeighborY="1273">
        <dgm:presLayoutVars>
          <dgm:chPref val="3"/>
        </dgm:presLayoutVars>
      </dgm:prSet>
      <dgm:spPr/>
    </dgm:pt>
    <dgm:pt modelId="{11F535E7-DC5C-46C7-99D9-0FC644D148D0}" type="pres">
      <dgm:prSet presAssocID="{DB1F89A2-BB74-4C00-88F2-500BF96AE4A7}" presName="hierChild2" presStyleCnt="0"/>
      <dgm:spPr/>
    </dgm:pt>
  </dgm:ptLst>
  <dgm:cxnLst>
    <dgm:cxn modelId="{DD5C6505-C73E-44DA-830D-3D01C60871BE}" type="presOf" srcId="{DB1F89A2-BB74-4C00-88F2-500BF96AE4A7}" destId="{7DC07CFC-D85C-4303-BEB9-9141D4CA4F29}" srcOrd="0" destOrd="0" presId="urn:microsoft.com/office/officeart/2005/8/layout/hierarchy1"/>
    <dgm:cxn modelId="{DC1B1F3A-8CE5-4E48-8A78-9A92EBAE3AD0}" type="presOf" srcId="{E7EEE80D-8286-480F-A640-701A504DA184}" destId="{C2DA60AC-A180-435D-BB29-01DCDF8A0BCC}" srcOrd="0" destOrd="0" presId="urn:microsoft.com/office/officeart/2005/8/layout/hierarchy1"/>
    <dgm:cxn modelId="{77BBAB61-645E-40A3-B681-161C8EAC4E98}" srcId="{E7EEE80D-8286-480F-A640-701A504DA184}" destId="{D95DC8A3-50A6-47B8-BEE8-6E04B59E87CB}" srcOrd="0" destOrd="0" parTransId="{B11A36EB-ADBB-4C32-8007-9FC3E52EB725}" sibTransId="{7AF2001A-3B6B-49B4-BA8C-BF246A6FECCD}"/>
    <dgm:cxn modelId="{FB1BFB41-D863-4DEC-8912-B2C7EBD19219}" type="presOf" srcId="{D95DC8A3-50A6-47B8-BEE8-6E04B59E87CB}" destId="{2EE64E4A-3D71-48A3-A9A5-7E1E9F678A28}" srcOrd="0" destOrd="0" presId="urn:microsoft.com/office/officeart/2005/8/layout/hierarchy1"/>
    <dgm:cxn modelId="{517F0C81-5E8C-4DDF-8604-9C6496027A74}" srcId="{E7EEE80D-8286-480F-A640-701A504DA184}" destId="{DB1F89A2-BB74-4C00-88F2-500BF96AE4A7}" srcOrd="1" destOrd="0" parTransId="{4CE6863C-90A1-437E-8A35-E651991ECE58}" sibTransId="{76FA9716-4F8F-465F-BFDC-D5F590B578DB}"/>
    <dgm:cxn modelId="{AB865278-DA3A-4403-9929-B833406F1E23}" type="presParOf" srcId="{C2DA60AC-A180-435D-BB29-01DCDF8A0BCC}" destId="{1BA633F5-3EA0-48E3-AA70-E1ED91628758}" srcOrd="0" destOrd="0" presId="urn:microsoft.com/office/officeart/2005/8/layout/hierarchy1"/>
    <dgm:cxn modelId="{7588E9A9-8D65-40DB-B464-D09BDEE31723}" type="presParOf" srcId="{1BA633F5-3EA0-48E3-AA70-E1ED91628758}" destId="{DAABF1EE-1C91-4A22-B7BC-66AFD753DEBC}" srcOrd="0" destOrd="0" presId="urn:microsoft.com/office/officeart/2005/8/layout/hierarchy1"/>
    <dgm:cxn modelId="{41740D90-C109-46EB-AFEF-F166B203352B}" type="presParOf" srcId="{DAABF1EE-1C91-4A22-B7BC-66AFD753DEBC}" destId="{2BD3D634-1005-4123-81DA-D24DD99A8260}" srcOrd="0" destOrd="0" presId="urn:microsoft.com/office/officeart/2005/8/layout/hierarchy1"/>
    <dgm:cxn modelId="{318CE18A-3897-49CA-AAA2-A2D377185B75}" type="presParOf" srcId="{DAABF1EE-1C91-4A22-B7BC-66AFD753DEBC}" destId="{2EE64E4A-3D71-48A3-A9A5-7E1E9F678A28}" srcOrd="1" destOrd="0" presId="urn:microsoft.com/office/officeart/2005/8/layout/hierarchy1"/>
    <dgm:cxn modelId="{E3C1D600-6F28-4C31-82A9-D36226D7AD9E}" type="presParOf" srcId="{1BA633F5-3EA0-48E3-AA70-E1ED91628758}" destId="{64B73694-E08A-45F4-881C-E4766F45C406}" srcOrd="1" destOrd="0" presId="urn:microsoft.com/office/officeart/2005/8/layout/hierarchy1"/>
    <dgm:cxn modelId="{F354DAA4-189B-4B1F-8C3C-294A9AC105CC}" type="presParOf" srcId="{C2DA60AC-A180-435D-BB29-01DCDF8A0BCC}" destId="{1672AEBE-6B34-4FAD-AE2E-8A40D32650DA}" srcOrd="1" destOrd="0" presId="urn:microsoft.com/office/officeart/2005/8/layout/hierarchy1"/>
    <dgm:cxn modelId="{E3AE42D8-DC13-4AED-BD6C-F9660CE18FF8}" type="presParOf" srcId="{1672AEBE-6B34-4FAD-AE2E-8A40D32650DA}" destId="{275EF1F7-B480-4755-80DF-6AA472E6F47D}" srcOrd="0" destOrd="0" presId="urn:microsoft.com/office/officeart/2005/8/layout/hierarchy1"/>
    <dgm:cxn modelId="{E2D1FAEB-FDA1-4C8C-B8F0-D64EC16AF82A}" type="presParOf" srcId="{275EF1F7-B480-4755-80DF-6AA472E6F47D}" destId="{21CCEC3D-354E-459A-AC66-B20B2646CBB0}" srcOrd="0" destOrd="0" presId="urn:microsoft.com/office/officeart/2005/8/layout/hierarchy1"/>
    <dgm:cxn modelId="{C9846E0A-2237-47E8-B521-F579B0933B21}" type="presParOf" srcId="{275EF1F7-B480-4755-80DF-6AA472E6F47D}" destId="{7DC07CFC-D85C-4303-BEB9-9141D4CA4F29}" srcOrd="1" destOrd="0" presId="urn:microsoft.com/office/officeart/2005/8/layout/hierarchy1"/>
    <dgm:cxn modelId="{693AE1F4-F808-47D6-837D-5221EDDACC20}" type="presParOf" srcId="{1672AEBE-6B34-4FAD-AE2E-8A40D32650DA}" destId="{11F535E7-DC5C-46C7-99D9-0FC644D148D0}"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dgm:spPr/>
      <dgm:t>
        <a:bodyPr/>
        <a:lstStyle/>
        <a:p>
          <a:r>
            <a:rPr lang="en-US" dirty="0">
              <a:solidFill>
                <a:srgbClr val="FFFFFF"/>
              </a:solidFill>
            </a:rPr>
            <a:t>True or false: Database will remain offline and unavailable during the scale up\down operation.</a:t>
          </a:r>
          <a:endParaRPr lang="en-US" dirty="0"/>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08B47357-E82C-4244-96A6-39645A39D898}">
      <dgm:prSet/>
      <dgm:spPr/>
      <dgm:t>
        <a:bodyPr/>
        <a:lstStyle/>
        <a:p>
          <a:r>
            <a:rPr lang="en-US" dirty="0">
              <a:solidFill>
                <a:srgbClr val="FFFFFF"/>
              </a:solidFill>
            </a:rPr>
            <a:t>What are the various methods to change the performance levels and </a:t>
          </a:r>
          <a:r>
            <a:rPr lang="en-US">
              <a:solidFill>
                <a:srgbClr val="FFFFFF"/>
              </a:solidFill>
            </a:rPr>
            <a:t>edit?</a:t>
          </a:r>
          <a:endParaRPr lang="en-US" dirty="0"/>
        </a:p>
      </dgm:t>
    </dgm:pt>
    <dgm:pt modelId="{CC4BCB10-4D91-4A19-8ACD-BD2907230371}" type="parTrans" cxnId="{B971D2EF-9ED3-42EC-9411-8613801F4918}">
      <dgm:prSet/>
      <dgm:spPr/>
      <dgm:t>
        <a:bodyPr/>
        <a:lstStyle/>
        <a:p>
          <a:endParaRPr lang="en-US"/>
        </a:p>
      </dgm:t>
    </dgm:pt>
    <dgm:pt modelId="{2DB912C1-6B9C-4F38-8DE9-3B112FF5211C}" type="sibTrans" cxnId="{B971D2EF-9ED3-42EC-9411-8613801F4918}">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2">
        <dgm:presLayoutVars>
          <dgm:chMax val="0"/>
          <dgm:bulletEnabled val="1"/>
        </dgm:presLayoutVars>
      </dgm:prSet>
      <dgm:spPr/>
    </dgm:pt>
    <dgm:pt modelId="{C612FDE1-CA0B-4448-B2A9-6EB44CD0983E}" type="pres">
      <dgm:prSet presAssocID="{CAE4D9F8-FDBB-4525-9125-6BAF56328FCE}" presName="spacer" presStyleCnt="0"/>
      <dgm:spPr/>
    </dgm:pt>
    <dgm:pt modelId="{7D7555A6-3753-4123-84E9-A9658316A38A}" type="pres">
      <dgm:prSet presAssocID="{08B47357-E82C-4244-96A6-39645A39D898}" presName="parentText" presStyleLbl="node1" presStyleIdx="1" presStyleCnt="2">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092DC21-B096-42BC-9AC5-A2612C3ABCD0}" type="presOf" srcId="{08B47357-E82C-4244-96A6-39645A39D898}" destId="{7D7555A6-3753-4123-84E9-A9658316A38A}"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4BB646B5-2A6D-439D-A88F-AC928930541F}" srcId="{15A7774C-B622-4F48-8F7B-AF1AAB74E997}" destId="{CDCA19B1-3B45-4B24-8F19-085A650701BC}" srcOrd="0" destOrd="0" parTransId="{74BFB16A-6DC3-47DD-AE97-F15F596B23DF}" sibTransId="{CAE4D9F8-FDBB-4525-9125-6BAF56328FCE}"/>
    <dgm:cxn modelId="{B971D2EF-9ED3-42EC-9411-8613801F4918}" srcId="{15A7774C-B622-4F48-8F7B-AF1AAB74E997}" destId="{08B47357-E82C-4244-96A6-39645A39D898}" srcOrd="1" destOrd="0" parTransId="{CC4BCB10-4D91-4A19-8ACD-BD2907230371}" sibTransId="{2DB912C1-6B9C-4F38-8DE9-3B112FF5211C}"/>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61E86D5B-BD8C-4AB1-9941-91760EA39A9B}" type="presParOf" srcId="{97400BD5-14CE-4761-8A6A-64BC46D23158}" destId="{7D7555A6-3753-4123-84E9-A9658316A38A}"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C9974CA7-AC9E-4315-B64A-8C43C9494217}"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887C823E-6505-43F7-9586-A76FF6CAF9C4}">
      <dgm:prSet custT="1"/>
      <dgm:spPr/>
      <dgm:t>
        <a:bodyPr/>
        <a:lstStyle/>
        <a:p>
          <a:r>
            <a:rPr lang="en-US" sz="2800" b="0" i="0" baseline="0" dirty="0"/>
            <a:t>Elastic Database Jobs provide the ability to run one or more T-SQL scripts in parallel, across a large number of databases, on a schedule or on-demand.</a:t>
          </a:r>
          <a:endParaRPr lang="en-US" sz="2800" dirty="0"/>
        </a:p>
      </dgm:t>
    </dgm:pt>
    <dgm:pt modelId="{61DCB725-3EDE-4567-A30F-2C453A72FC05}" type="parTrans" cxnId="{06DF95CC-CA4D-485F-AA97-85E592CD46FD}">
      <dgm:prSet/>
      <dgm:spPr/>
      <dgm:t>
        <a:bodyPr/>
        <a:lstStyle/>
        <a:p>
          <a:endParaRPr lang="en-US"/>
        </a:p>
      </dgm:t>
    </dgm:pt>
    <dgm:pt modelId="{2D1AAA90-AA8B-4801-A34D-4DD040824A93}" type="sibTrans" cxnId="{06DF95CC-CA4D-485F-AA97-85E592CD46FD}">
      <dgm:prSet/>
      <dgm:spPr/>
      <dgm:t>
        <a:bodyPr/>
        <a:lstStyle/>
        <a:p>
          <a:endParaRPr lang="en-US"/>
        </a:p>
      </dgm:t>
    </dgm:pt>
    <dgm:pt modelId="{B14BD7BD-5EEE-418C-82AD-59FE805FD638}" type="pres">
      <dgm:prSet presAssocID="{C9974CA7-AC9E-4315-B64A-8C43C9494217}" presName="linear" presStyleCnt="0">
        <dgm:presLayoutVars>
          <dgm:animLvl val="lvl"/>
          <dgm:resizeHandles val="exact"/>
        </dgm:presLayoutVars>
      </dgm:prSet>
      <dgm:spPr/>
    </dgm:pt>
    <dgm:pt modelId="{DA3DFFFE-55BD-46AE-A438-0A68DA92D27B}" type="pres">
      <dgm:prSet presAssocID="{887C823E-6505-43F7-9586-A76FF6CAF9C4}" presName="parentText" presStyleLbl="node1" presStyleIdx="0" presStyleCnt="1" custLinFactNeighborX="0" custLinFactNeighborY="-949">
        <dgm:presLayoutVars>
          <dgm:chMax val="0"/>
          <dgm:bulletEnabled val="1"/>
        </dgm:presLayoutVars>
      </dgm:prSet>
      <dgm:spPr/>
    </dgm:pt>
  </dgm:ptLst>
  <dgm:cxnLst>
    <dgm:cxn modelId="{F68C3134-19E9-4E1D-B1D6-C90B5747DB20}" type="presOf" srcId="{C9974CA7-AC9E-4315-B64A-8C43C9494217}" destId="{B14BD7BD-5EEE-418C-82AD-59FE805FD638}" srcOrd="0" destOrd="0" presId="urn:microsoft.com/office/officeart/2005/8/layout/vList2"/>
    <dgm:cxn modelId="{73873B93-F88D-4A87-8A7C-DA5BA2DCD1F5}" type="presOf" srcId="{887C823E-6505-43F7-9586-A76FF6CAF9C4}" destId="{DA3DFFFE-55BD-46AE-A438-0A68DA92D27B}" srcOrd="0" destOrd="0" presId="urn:microsoft.com/office/officeart/2005/8/layout/vList2"/>
    <dgm:cxn modelId="{06DF95CC-CA4D-485F-AA97-85E592CD46FD}" srcId="{C9974CA7-AC9E-4315-B64A-8C43C9494217}" destId="{887C823E-6505-43F7-9586-A76FF6CAF9C4}" srcOrd="0" destOrd="0" parTransId="{61DCB725-3EDE-4567-A30F-2C453A72FC05}" sibTransId="{2D1AAA90-AA8B-4801-A34D-4DD040824A93}"/>
    <dgm:cxn modelId="{178F33E1-089D-4D60-9FC9-C69A0E6BD790}" type="presParOf" srcId="{B14BD7BD-5EEE-418C-82AD-59FE805FD638}" destId="{DA3DFFFE-55BD-46AE-A438-0A68DA92D27B}"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A75DEFD9-D333-4807-88B0-F2CD4A187A46}" type="doc">
      <dgm:prSet loTypeId="urn:microsoft.com/office/officeart/2005/8/layout/list1" loCatId="list" qsTypeId="urn:microsoft.com/office/officeart/2005/8/quickstyle/simple1" qsCatId="simple" csTypeId="urn:microsoft.com/office/officeart/2005/8/colors/accent1_2" csCatId="accent1"/>
      <dgm:spPr/>
      <dgm:t>
        <a:bodyPr/>
        <a:lstStyle/>
        <a:p>
          <a:endParaRPr lang="en-US"/>
        </a:p>
      </dgm:t>
    </dgm:pt>
    <dgm:pt modelId="{1FCCD624-BF12-494C-9A06-2E8A3976E770}">
      <dgm:prSet/>
      <dgm:spPr/>
      <dgm:t>
        <a:bodyPr/>
        <a:lstStyle/>
        <a:p>
          <a:r>
            <a:rPr lang="en-US" baseline="0"/>
            <a:t>Manage many databases</a:t>
          </a:r>
          <a:endParaRPr lang="en-US"/>
        </a:p>
      </dgm:t>
    </dgm:pt>
    <dgm:pt modelId="{1FD93DA7-52D9-4FD5-A66D-DFB3F8FD2168}" type="parTrans" cxnId="{B87679FD-B632-492F-956A-A8CB8D235A24}">
      <dgm:prSet/>
      <dgm:spPr/>
      <dgm:t>
        <a:bodyPr/>
        <a:lstStyle/>
        <a:p>
          <a:endParaRPr lang="en-US"/>
        </a:p>
      </dgm:t>
    </dgm:pt>
    <dgm:pt modelId="{5C1976DE-8753-480C-879A-15542A202D50}" type="sibTrans" cxnId="{B87679FD-B632-492F-956A-A8CB8D235A24}">
      <dgm:prSet/>
      <dgm:spPr/>
      <dgm:t>
        <a:bodyPr/>
        <a:lstStyle/>
        <a:p>
          <a:endParaRPr lang="en-US"/>
        </a:p>
      </dgm:t>
    </dgm:pt>
    <dgm:pt modelId="{BF683080-E5D8-4271-A275-CEFC68F8C640}">
      <dgm:prSet/>
      <dgm:spPr/>
      <dgm:t>
        <a:bodyPr/>
        <a:lstStyle/>
        <a:p>
          <a:r>
            <a:rPr lang="en-US" baseline="0"/>
            <a:t>Easily do schema changes, credentials management, reference data updates, performance data collection or tenant (customer) telemetry collection.</a:t>
          </a:r>
          <a:endParaRPr lang="en-US"/>
        </a:p>
      </dgm:t>
    </dgm:pt>
    <dgm:pt modelId="{B188290F-7E83-4BCB-8AD0-5B48E8AB7BC6}" type="parTrans" cxnId="{8BB07293-BD6A-4DB7-A6C7-558F5F12A3F6}">
      <dgm:prSet/>
      <dgm:spPr/>
      <dgm:t>
        <a:bodyPr/>
        <a:lstStyle/>
        <a:p>
          <a:endParaRPr lang="en-US"/>
        </a:p>
      </dgm:t>
    </dgm:pt>
    <dgm:pt modelId="{00566F7F-83A3-474A-AF2C-304DBA03AA61}" type="sibTrans" cxnId="{8BB07293-BD6A-4DB7-A6C7-558F5F12A3F6}">
      <dgm:prSet/>
      <dgm:spPr/>
      <dgm:t>
        <a:bodyPr/>
        <a:lstStyle/>
        <a:p>
          <a:endParaRPr lang="en-US"/>
        </a:p>
      </dgm:t>
    </dgm:pt>
    <dgm:pt modelId="{99B3FCA0-0D93-4C9D-BCFE-35BF957B21F8}">
      <dgm:prSet/>
      <dgm:spPr/>
      <dgm:t>
        <a:bodyPr/>
        <a:lstStyle/>
        <a:p>
          <a:r>
            <a:rPr lang="en-US" baseline="0"/>
            <a:t>Schedule administrative tasks for example: Index Maintenance.</a:t>
          </a:r>
          <a:endParaRPr lang="en-US"/>
        </a:p>
      </dgm:t>
    </dgm:pt>
    <dgm:pt modelId="{768E584A-361E-4FF4-9186-2706CB88EEBD}" type="parTrans" cxnId="{E1CC82BD-7E12-4EF7-9BCD-DCB466600CC6}">
      <dgm:prSet/>
      <dgm:spPr/>
      <dgm:t>
        <a:bodyPr/>
        <a:lstStyle/>
        <a:p>
          <a:endParaRPr lang="en-US"/>
        </a:p>
      </dgm:t>
    </dgm:pt>
    <dgm:pt modelId="{8629F453-D3CE-4C8F-8B58-BBF2E40129CC}" type="sibTrans" cxnId="{E1CC82BD-7E12-4EF7-9BCD-DCB466600CC6}">
      <dgm:prSet/>
      <dgm:spPr/>
      <dgm:t>
        <a:bodyPr/>
        <a:lstStyle/>
        <a:p>
          <a:endParaRPr lang="en-US"/>
        </a:p>
      </dgm:t>
    </dgm:pt>
    <dgm:pt modelId="{481F12DB-EE9B-4359-A0CC-F7E82363BA13}">
      <dgm:prSet/>
      <dgm:spPr/>
      <dgm:t>
        <a:bodyPr/>
        <a:lstStyle/>
        <a:p>
          <a:r>
            <a:rPr lang="en-US" baseline="0"/>
            <a:t>Collect data for reporting</a:t>
          </a:r>
          <a:endParaRPr lang="en-US"/>
        </a:p>
      </dgm:t>
    </dgm:pt>
    <dgm:pt modelId="{4A602880-91B3-4F74-859B-2D95787A1589}" type="parTrans" cxnId="{1BFF3D48-8639-474F-90C1-52B8C7620BAC}">
      <dgm:prSet/>
      <dgm:spPr/>
      <dgm:t>
        <a:bodyPr/>
        <a:lstStyle/>
        <a:p>
          <a:endParaRPr lang="en-US"/>
        </a:p>
      </dgm:t>
    </dgm:pt>
    <dgm:pt modelId="{F1803D2D-DCA9-413B-A0C4-0F4EE6531ECD}" type="sibTrans" cxnId="{1BFF3D48-8639-474F-90C1-52B8C7620BAC}">
      <dgm:prSet/>
      <dgm:spPr/>
      <dgm:t>
        <a:bodyPr/>
        <a:lstStyle/>
        <a:p>
          <a:endParaRPr lang="en-US"/>
        </a:p>
      </dgm:t>
    </dgm:pt>
    <dgm:pt modelId="{FEA194AB-2C57-41A0-9562-6B04E1A7BBB8}">
      <dgm:prSet/>
      <dgm:spPr/>
      <dgm:t>
        <a:bodyPr/>
        <a:lstStyle/>
        <a:p>
          <a:r>
            <a:rPr lang="en-US" baseline="0" dirty="0"/>
            <a:t>Aggregate data from a collection of Azure SQL Databases into a single destination table.</a:t>
          </a:r>
          <a:endParaRPr lang="en-US" dirty="0"/>
        </a:p>
      </dgm:t>
    </dgm:pt>
    <dgm:pt modelId="{165B40D5-BBEF-43D0-BB4F-B299E87500A3}" type="parTrans" cxnId="{160D246F-A808-4378-AEE6-BB7C2D72FFC0}">
      <dgm:prSet/>
      <dgm:spPr/>
      <dgm:t>
        <a:bodyPr/>
        <a:lstStyle/>
        <a:p>
          <a:endParaRPr lang="en-US"/>
        </a:p>
      </dgm:t>
    </dgm:pt>
    <dgm:pt modelId="{7E0F5912-6E54-4C97-B2A8-94F00DF7C1F7}" type="sibTrans" cxnId="{160D246F-A808-4378-AEE6-BB7C2D72FFC0}">
      <dgm:prSet/>
      <dgm:spPr/>
      <dgm:t>
        <a:bodyPr/>
        <a:lstStyle/>
        <a:p>
          <a:endParaRPr lang="en-US"/>
        </a:p>
      </dgm:t>
    </dgm:pt>
    <dgm:pt modelId="{1CA40030-F656-4783-80C6-E86CE2097AA2}">
      <dgm:prSet/>
      <dgm:spPr/>
      <dgm:t>
        <a:bodyPr/>
        <a:lstStyle/>
        <a:p>
          <a:r>
            <a:rPr lang="en-US" baseline="0" dirty="0"/>
            <a:t>Reduce Overhead</a:t>
          </a:r>
          <a:endParaRPr lang="en-US" dirty="0"/>
        </a:p>
      </dgm:t>
    </dgm:pt>
    <dgm:pt modelId="{F89FD050-0C64-470B-ACD5-BF28C0FEC0B7}" type="parTrans" cxnId="{E5C92060-0166-4F59-B1A1-5E92D4F60E6E}">
      <dgm:prSet/>
      <dgm:spPr/>
      <dgm:t>
        <a:bodyPr/>
        <a:lstStyle/>
        <a:p>
          <a:endParaRPr lang="en-US"/>
        </a:p>
      </dgm:t>
    </dgm:pt>
    <dgm:pt modelId="{FE6E6372-2D7A-4D94-9AAE-AB31B6B50BA7}" type="sibTrans" cxnId="{E5C92060-0166-4F59-B1A1-5E92D4F60E6E}">
      <dgm:prSet/>
      <dgm:spPr/>
      <dgm:t>
        <a:bodyPr/>
        <a:lstStyle/>
        <a:p>
          <a:endParaRPr lang="en-US"/>
        </a:p>
      </dgm:t>
    </dgm:pt>
    <dgm:pt modelId="{584711A1-AA45-4C85-AE57-2724FB6727D2}">
      <dgm:prSet/>
      <dgm:spPr/>
      <dgm:t>
        <a:bodyPr/>
        <a:lstStyle/>
        <a:p>
          <a:r>
            <a:rPr lang="en-US" baseline="0"/>
            <a:t>No need to connect to each DB separately.</a:t>
          </a:r>
          <a:endParaRPr lang="en-US"/>
        </a:p>
      </dgm:t>
    </dgm:pt>
    <dgm:pt modelId="{322C7CBF-4F19-4523-9873-2E0B437DA64C}" type="parTrans" cxnId="{C5EB2395-2F26-4537-A599-993872DCA5C7}">
      <dgm:prSet/>
      <dgm:spPr/>
      <dgm:t>
        <a:bodyPr/>
        <a:lstStyle/>
        <a:p>
          <a:endParaRPr lang="en-US"/>
        </a:p>
      </dgm:t>
    </dgm:pt>
    <dgm:pt modelId="{418F7DAB-91C8-445B-B281-4A6BFB13E457}" type="sibTrans" cxnId="{C5EB2395-2F26-4537-A599-993872DCA5C7}">
      <dgm:prSet/>
      <dgm:spPr/>
      <dgm:t>
        <a:bodyPr/>
        <a:lstStyle/>
        <a:p>
          <a:endParaRPr lang="en-US"/>
        </a:p>
      </dgm:t>
    </dgm:pt>
    <dgm:pt modelId="{7F27EA84-A3DA-4B21-9673-3E9FB0BF9BAE}">
      <dgm:prSet/>
      <dgm:spPr/>
      <dgm:t>
        <a:bodyPr/>
        <a:lstStyle/>
        <a:p>
          <a:r>
            <a:rPr lang="en-US" baseline="0"/>
            <a:t>Scripts are executed against a group of databases.</a:t>
          </a:r>
          <a:endParaRPr lang="en-US"/>
        </a:p>
      </dgm:t>
    </dgm:pt>
    <dgm:pt modelId="{5BD0FE03-F1F4-42D0-AFE9-DEE8D06335F7}" type="parTrans" cxnId="{C216278F-48A9-4F82-9400-6F0EDC2E01AB}">
      <dgm:prSet/>
      <dgm:spPr/>
      <dgm:t>
        <a:bodyPr/>
        <a:lstStyle/>
        <a:p>
          <a:endParaRPr lang="en-US"/>
        </a:p>
      </dgm:t>
    </dgm:pt>
    <dgm:pt modelId="{4B403A44-FF91-41DB-9814-90D399FFE63E}" type="sibTrans" cxnId="{C216278F-48A9-4F82-9400-6F0EDC2E01AB}">
      <dgm:prSet/>
      <dgm:spPr/>
      <dgm:t>
        <a:bodyPr/>
        <a:lstStyle/>
        <a:p>
          <a:endParaRPr lang="en-US"/>
        </a:p>
      </dgm:t>
    </dgm:pt>
    <dgm:pt modelId="{EFE77488-A773-4123-BB4C-9B237EAFAFE0}">
      <dgm:prSet/>
      <dgm:spPr/>
      <dgm:t>
        <a:bodyPr/>
        <a:lstStyle/>
        <a:p>
          <a:r>
            <a:rPr lang="en-US" baseline="0"/>
            <a:t>Flexibility</a:t>
          </a:r>
          <a:endParaRPr lang="en-US"/>
        </a:p>
      </dgm:t>
    </dgm:pt>
    <dgm:pt modelId="{016DC659-3F3F-4EEC-A2E3-B7F3B855D147}" type="parTrans" cxnId="{EC4888FC-C652-49F2-B413-12A8497E0E71}">
      <dgm:prSet/>
      <dgm:spPr/>
      <dgm:t>
        <a:bodyPr/>
        <a:lstStyle/>
        <a:p>
          <a:endParaRPr lang="en-US"/>
        </a:p>
      </dgm:t>
    </dgm:pt>
    <dgm:pt modelId="{975E2D39-EECE-4BC5-9AC2-B02B40C5E305}" type="sibTrans" cxnId="{EC4888FC-C652-49F2-B413-12A8497E0E71}">
      <dgm:prSet/>
      <dgm:spPr/>
      <dgm:t>
        <a:bodyPr/>
        <a:lstStyle/>
        <a:p>
          <a:endParaRPr lang="en-US"/>
        </a:p>
      </dgm:t>
    </dgm:pt>
    <dgm:pt modelId="{07E867A1-11E7-405D-8980-B04043A5C97C}">
      <dgm:prSet/>
      <dgm:spPr/>
      <dgm:t>
        <a:bodyPr/>
        <a:lstStyle/>
        <a:p>
          <a:r>
            <a:rPr lang="en-US" baseline="0"/>
            <a:t>Define custom groups of Azure SQL Databases, and define schedules for running a job.</a:t>
          </a:r>
          <a:endParaRPr lang="en-US"/>
        </a:p>
      </dgm:t>
    </dgm:pt>
    <dgm:pt modelId="{F0BAAEE2-FDD9-4567-AFB2-50B3967462D8}" type="parTrans" cxnId="{34F51AFE-64BD-49D3-B97F-A59EE06E1575}">
      <dgm:prSet/>
      <dgm:spPr/>
      <dgm:t>
        <a:bodyPr/>
        <a:lstStyle/>
        <a:p>
          <a:endParaRPr lang="en-US"/>
        </a:p>
      </dgm:t>
    </dgm:pt>
    <dgm:pt modelId="{E445F03B-B37A-40E5-98AD-D428DDD90C94}" type="sibTrans" cxnId="{34F51AFE-64BD-49D3-B97F-A59EE06E1575}">
      <dgm:prSet/>
      <dgm:spPr/>
      <dgm:t>
        <a:bodyPr/>
        <a:lstStyle/>
        <a:p>
          <a:endParaRPr lang="en-US"/>
        </a:p>
      </dgm:t>
    </dgm:pt>
    <dgm:pt modelId="{C80E0C23-AD2F-430B-9AB2-35979D7107D4}" type="pres">
      <dgm:prSet presAssocID="{A75DEFD9-D333-4807-88B0-F2CD4A187A46}" presName="linear" presStyleCnt="0">
        <dgm:presLayoutVars>
          <dgm:dir/>
          <dgm:animLvl val="lvl"/>
          <dgm:resizeHandles val="exact"/>
        </dgm:presLayoutVars>
      </dgm:prSet>
      <dgm:spPr/>
    </dgm:pt>
    <dgm:pt modelId="{81317D33-A2DB-4AE0-BE2E-65BD95C7FE60}" type="pres">
      <dgm:prSet presAssocID="{1FCCD624-BF12-494C-9A06-2E8A3976E770}" presName="parentLin" presStyleCnt="0"/>
      <dgm:spPr/>
    </dgm:pt>
    <dgm:pt modelId="{EF470AAF-034B-4526-A343-E3D4FF64BFB8}" type="pres">
      <dgm:prSet presAssocID="{1FCCD624-BF12-494C-9A06-2E8A3976E770}" presName="parentLeftMargin" presStyleLbl="node1" presStyleIdx="0" presStyleCnt="4"/>
      <dgm:spPr/>
    </dgm:pt>
    <dgm:pt modelId="{FD0711BE-7458-4871-90CA-4CA72D6C4156}" type="pres">
      <dgm:prSet presAssocID="{1FCCD624-BF12-494C-9A06-2E8A3976E770}" presName="parentText" presStyleLbl="node1" presStyleIdx="0" presStyleCnt="4">
        <dgm:presLayoutVars>
          <dgm:chMax val="0"/>
          <dgm:bulletEnabled val="1"/>
        </dgm:presLayoutVars>
      </dgm:prSet>
      <dgm:spPr/>
    </dgm:pt>
    <dgm:pt modelId="{946BFB03-AD04-43AC-BF0E-C2461BE05D53}" type="pres">
      <dgm:prSet presAssocID="{1FCCD624-BF12-494C-9A06-2E8A3976E770}" presName="negativeSpace" presStyleCnt="0"/>
      <dgm:spPr/>
    </dgm:pt>
    <dgm:pt modelId="{E801C6B7-1775-4230-BF90-75ECF8B2D6B2}" type="pres">
      <dgm:prSet presAssocID="{1FCCD624-BF12-494C-9A06-2E8A3976E770}" presName="childText" presStyleLbl="conFgAcc1" presStyleIdx="0" presStyleCnt="4">
        <dgm:presLayoutVars>
          <dgm:bulletEnabled val="1"/>
        </dgm:presLayoutVars>
      </dgm:prSet>
      <dgm:spPr/>
    </dgm:pt>
    <dgm:pt modelId="{9098644A-28F4-4F2E-800B-432099B1A55F}" type="pres">
      <dgm:prSet presAssocID="{5C1976DE-8753-480C-879A-15542A202D50}" presName="spaceBetweenRectangles" presStyleCnt="0"/>
      <dgm:spPr/>
    </dgm:pt>
    <dgm:pt modelId="{167221AA-CF7C-4121-A11A-2CDA30D1A54D}" type="pres">
      <dgm:prSet presAssocID="{481F12DB-EE9B-4359-A0CC-F7E82363BA13}" presName="parentLin" presStyleCnt="0"/>
      <dgm:spPr/>
    </dgm:pt>
    <dgm:pt modelId="{F04F5322-8DB7-4352-B0A5-D62FCA47DC62}" type="pres">
      <dgm:prSet presAssocID="{481F12DB-EE9B-4359-A0CC-F7E82363BA13}" presName="parentLeftMargin" presStyleLbl="node1" presStyleIdx="0" presStyleCnt="4"/>
      <dgm:spPr/>
    </dgm:pt>
    <dgm:pt modelId="{1356BA5C-F987-4F9C-B2CE-272FCA4BCED9}" type="pres">
      <dgm:prSet presAssocID="{481F12DB-EE9B-4359-A0CC-F7E82363BA13}" presName="parentText" presStyleLbl="node1" presStyleIdx="1" presStyleCnt="4">
        <dgm:presLayoutVars>
          <dgm:chMax val="0"/>
          <dgm:bulletEnabled val="1"/>
        </dgm:presLayoutVars>
      </dgm:prSet>
      <dgm:spPr/>
    </dgm:pt>
    <dgm:pt modelId="{F6C02299-3C32-4A0E-9A0F-8C941FD5E612}" type="pres">
      <dgm:prSet presAssocID="{481F12DB-EE9B-4359-A0CC-F7E82363BA13}" presName="negativeSpace" presStyleCnt="0"/>
      <dgm:spPr/>
    </dgm:pt>
    <dgm:pt modelId="{679C91E1-1291-4EA7-BACE-38CAB1F28488}" type="pres">
      <dgm:prSet presAssocID="{481F12DB-EE9B-4359-A0CC-F7E82363BA13}" presName="childText" presStyleLbl="conFgAcc1" presStyleIdx="1" presStyleCnt="4">
        <dgm:presLayoutVars>
          <dgm:bulletEnabled val="1"/>
        </dgm:presLayoutVars>
      </dgm:prSet>
      <dgm:spPr/>
    </dgm:pt>
    <dgm:pt modelId="{0ACBB483-6CE2-4ADA-BF9B-9555E9F1E3A3}" type="pres">
      <dgm:prSet presAssocID="{F1803D2D-DCA9-413B-A0C4-0F4EE6531ECD}" presName="spaceBetweenRectangles" presStyleCnt="0"/>
      <dgm:spPr/>
    </dgm:pt>
    <dgm:pt modelId="{86328B4B-1D3E-4AA1-9FAE-808A2AF61304}" type="pres">
      <dgm:prSet presAssocID="{1CA40030-F656-4783-80C6-E86CE2097AA2}" presName="parentLin" presStyleCnt="0"/>
      <dgm:spPr/>
    </dgm:pt>
    <dgm:pt modelId="{99ECF54C-8E9D-4AAC-BAFC-20F9A281DD2D}" type="pres">
      <dgm:prSet presAssocID="{1CA40030-F656-4783-80C6-E86CE2097AA2}" presName="parentLeftMargin" presStyleLbl="node1" presStyleIdx="1" presStyleCnt="4"/>
      <dgm:spPr/>
    </dgm:pt>
    <dgm:pt modelId="{B066B733-64A8-4999-B959-216A50F854B4}" type="pres">
      <dgm:prSet presAssocID="{1CA40030-F656-4783-80C6-E86CE2097AA2}" presName="parentText" presStyleLbl="node1" presStyleIdx="2" presStyleCnt="4">
        <dgm:presLayoutVars>
          <dgm:chMax val="0"/>
          <dgm:bulletEnabled val="1"/>
        </dgm:presLayoutVars>
      </dgm:prSet>
      <dgm:spPr/>
    </dgm:pt>
    <dgm:pt modelId="{28FBC814-258B-4F24-BB52-F11D412D35A4}" type="pres">
      <dgm:prSet presAssocID="{1CA40030-F656-4783-80C6-E86CE2097AA2}" presName="negativeSpace" presStyleCnt="0"/>
      <dgm:spPr/>
    </dgm:pt>
    <dgm:pt modelId="{22604C87-B59D-4228-B3F6-B1B02299CCFC}" type="pres">
      <dgm:prSet presAssocID="{1CA40030-F656-4783-80C6-E86CE2097AA2}" presName="childText" presStyleLbl="conFgAcc1" presStyleIdx="2" presStyleCnt="4">
        <dgm:presLayoutVars>
          <dgm:bulletEnabled val="1"/>
        </dgm:presLayoutVars>
      </dgm:prSet>
      <dgm:spPr/>
    </dgm:pt>
    <dgm:pt modelId="{E5028734-D04F-4313-84D4-3BAF8B2CB0D2}" type="pres">
      <dgm:prSet presAssocID="{FE6E6372-2D7A-4D94-9AAE-AB31B6B50BA7}" presName="spaceBetweenRectangles" presStyleCnt="0"/>
      <dgm:spPr/>
    </dgm:pt>
    <dgm:pt modelId="{4D839240-B384-4B68-9D3E-4ACF740DC1A9}" type="pres">
      <dgm:prSet presAssocID="{EFE77488-A773-4123-BB4C-9B237EAFAFE0}" presName="parentLin" presStyleCnt="0"/>
      <dgm:spPr/>
    </dgm:pt>
    <dgm:pt modelId="{EB018154-AAA0-4329-9CE0-61F36A452471}" type="pres">
      <dgm:prSet presAssocID="{EFE77488-A773-4123-BB4C-9B237EAFAFE0}" presName="parentLeftMargin" presStyleLbl="node1" presStyleIdx="2" presStyleCnt="4"/>
      <dgm:spPr/>
    </dgm:pt>
    <dgm:pt modelId="{D441D088-00B6-4C6F-BEDD-F1BA3F9BD363}" type="pres">
      <dgm:prSet presAssocID="{EFE77488-A773-4123-BB4C-9B237EAFAFE0}" presName="parentText" presStyleLbl="node1" presStyleIdx="3" presStyleCnt="4">
        <dgm:presLayoutVars>
          <dgm:chMax val="0"/>
          <dgm:bulletEnabled val="1"/>
        </dgm:presLayoutVars>
      </dgm:prSet>
      <dgm:spPr/>
    </dgm:pt>
    <dgm:pt modelId="{38F6CE62-3C86-4FA5-B658-0D69BB9227CF}" type="pres">
      <dgm:prSet presAssocID="{EFE77488-A773-4123-BB4C-9B237EAFAFE0}" presName="negativeSpace" presStyleCnt="0"/>
      <dgm:spPr/>
    </dgm:pt>
    <dgm:pt modelId="{4CA03281-9939-45B1-B92D-A4A5062007F1}" type="pres">
      <dgm:prSet presAssocID="{EFE77488-A773-4123-BB4C-9B237EAFAFE0}" presName="childText" presStyleLbl="conFgAcc1" presStyleIdx="3" presStyleCnt="4">
        <dgm:presLayoutVars>
          <dgm:bulletEnabled val="1"/>
        </dgm:presLayoutVars>
      </dgm:prSet>
      <dgm:spPr/>
    </dgm:pt>
  </dgm:ptLst>
  <dgm:cxnLst>
    <dgm:cxn modelId="{0545A609-D4E8-4396-8C16-B5F666936FDD}" type="presOf" srcId="{481F12DB-EE9B-4359-A0CC-F7E82363BA13}" destId="{1356BA5C-F987-4F9C-B2CE-272FCA4BCED9}" srcOrd="1" destOrd="0" presId="urn:microsoft.com/office/officeart/2005/8/layout/list1"/>
    <dgm:cxn modelId="{E48D3A0A-A1AD-4EC6-915D-314A70E865A9}" type="presOf" srcId="{FEA194AB-2C57-41A0-9562-6B04E1A7BBB8}" destId="{679C91E1-1291-4EA7-BACE-38CAB1F28488}" srcOrd="0" destOrd="0" presId="urn:microsoft.com/office/officeart/2005/8/layout/list1"/>
    <dgm:cxn modelId="{8313C910-1726-4766-B354-329B0E903DCA}" type="presOf" srcId="{1FCCD624-BF12-494C-9A06-2E8A3976E770}" destId="{EF470AAF-034B-4526-A343-E3D4FF64BFB8}" srcOrd="0" destOrd="0" presId="urn:microsoft.com/office/officeart/2005/8/layout/list1"/>
    <dgm:cxn modelId="{97A0D312-1AC8-45CA-94A6-1CAA3121145A}" type="presOf" srcId="{A75DEFD9-D333-4807-88B0-F2CD4A187A46}" destId="{C80E0C23-AD2F-430B-9AB2-35979D7107D4}" srcOrd="0" destOrd="0" presId="urn:microsoft.com/office/officeart/2005/8/layout/list1"/>
    <dgm:cxn modelId="{4BEE5E16-CF85-4912-A31D-D6376FBECBDD}" type="presOf" srcId="{EFE77488-A773-4123-BB4C-9B237EAFAFE0}" destId="{EB018154-AAA0-4329-9CE0-61F36A452471}" srcOrd="0" destOrd="0" presId="urn:microsoft.com/office/officeart/2005/8/layout/list1"/>
    <dgm:cxn modelId="{2BE90518-10F3-40F2-AEBC-C4D5B9F6F2BF}" type="presOf" srcId="{7F27EA84-A3DA-4B21-9673-3E9FB0BF9BAE}" destId="{22604C87-B59D-4228-B3F6-B1B02299CCFC}" srcOrd="0" destOrd="1" presId="urn:microsoft.com/office/officeart/2005/8/layout/list1"/>
    <dgm:cxn modelId="{E5C92060-0166-4F59-B1A1-5E92D4F60E6E}" srcId="{A75DEFD9-D333-4807-88B0-F2CD4A187A46}" destId="{1CA40030-F656-4783-80C6-E86CE2097AA2}" srcOrd="2" destOrd="0" parTransId="{F89FD050-0C64-470B-ACD5-BF28C0FEC0B7}" sibTransId="{FE6E6372-2D7A-4D94-9AAE-AB31B6B50BA7}"/>
    <dgm:cxn modelId="{1BFF3D48-8639-474F-90C1-52B8C7620BAC}" srcId="{A75DEFD9-D333-4807-88B0-F2CD4A187A46}" destId="{481F12DB-EE9B-4359-A0CC-F7E82363BA13}" srcOrd="1" destOrd="0" parTransId="{4A602880-91B3-4F74-859B-2D95787A1589}" sibTransId="{F1803D2D-DCA9-413B-A0C4-0F4EE6531ECD}"/>
    <dgm:cxn modelId="{160D246F-A808-4378-AEE6-BB7C2D72FFC0}" srcId="{481F12DB-EE9B-4359-A0CC-F7E82363BA13}" destId="{FEA194AB-2C57-41A0-9562-6B04E1A7BBB8}" srcOrd="0" destOrd="0" parTransId="{165B40D5-BBEF-43D0-BB4F-B299E87500A3}" sibTransId="{7E0F5912-6E54-4C97-B2A8-94F00DF7C1F7}"/>
    <dgm:cxn modelId="{49D93B6F-FA9E-4FED-B653-4C28A8664538}" type="presOf" srcId="{BF683080-E5D8-4271-A275-CEFC68F8C640}" destId="{E801C6B7-1775-4230-BF90-75ECF8B2D6B2}" srcOrd="0" destOrd="0" presId="urn:microsoft.com/office/officeart/2005/8/layout/list1"/>
    <dgm:cxn modelId="{849F1472-A19F-444E-BDF7-A3D281CF0904}" type="presOf" srcId="{1CA40030-F656-4783-80C6-E86CE2097AA2}" destId="{B066B733-64A8-4999-B959-216A50F854B4}" srcOrd="1" destOrd="0" presId="urn:microsoft.com/office/officeart/2005/8/layout/list1"/>
    <dgm:cxn modelId="{907EB355-9317-4F52-AED0-F5A6B998FD7E}" type="presOf" srcId="{EFE77488-A773-4123-BB4C-9B237EAFAFE0}" destId="{D441D088-00B6-4C6F-BEDD-F1BA3F9BD363}" srcOrd="1" destOrd="0" presId="urn:microsoft.com/office/officeart/2005/8/layout/list1"/>
    <dgm:cxn modelId="{7BD7EA7D-5FDF-408A-8C6C-AEED532B5CBF}" type="presOf" srcId="{07E867A1-11E7-405D-8980-B04043A5C97C}" destId="{4CA03281-9939-45B1-B92D-A4A5062007F1}" srcOrd="0" destOrd="0" presId="urn:microsoft.com/office/officeart/2005/8/layout/list1"/>
    <dgm:cxn modelId="{C216278F-48A9-4F82-9400-6F0EDC2E01AB}" srcId="{1CA40030-F656-4783-80C6-E86CE2097AA2}" destId="{7F27EA84-A3DA-4B21-9673-3E9FB0BF9BAE}" srcOrd="1" destOrd="0" parTransId="{5BD0FE03-F1F4-42D0-AFE9-DEE8D06335F7}" sibTransId="{4B403A44-FF91-41DB-9814-90D399FFE63E}"/>
    <dgm:cxn modelId="{8BB07293-BD6A-4DB7-A6C7-558F5F12A3F6}" srcId="{1FCCD624-BF12-494C-9A06-2E8A3976E770}" destId="{BF683080-E5D8-4271-A275-CEFC68F8C640}" srcOrd="0" destOrd="0" parTransId="{B188290F-7E83-4BCB-8AD0-5B48E8AB7BC6}" sibTransId="{00566F7F-83A3-474A-AF2C-304DBA03AA61}"/>
    <dgm:cxn modelId="{C5EB2395-2F26-4537-A599-993872DCA5C7}" srcId="{1CA40030-F656-4783-80C6-E86CE2097AA2}" destId="{584711A1-AA45-4C85-AE57-2724FB6727D2}" srcOrd="0" destOrd="0" parTransId="{322C7CBF-4F19-4523-9873-2E0B437DA64C}" sibTransId="{418F7DAB-91C8-445B-B281-4A6BFB13E457}"/>
    <dgm:cxn modelId="{0A077897-82C9-498E-AE86-F44479584480}" type="presOf" srcId="{584711A1-AA45-4C85-AE57-2724FB6727D2}" destId="{22604C87-B59D-4228-B3F6-B1B02299CCFC}" srcOrd="0" destOrd="0" presId="urn:microsoft.com/office/officeart/2005/8/layout/list1"/>
    <dgm:cxn modelId="{1D150CBA-B865-4BAD-9C70-AE5F49A106D0}" type="presOf" srcId="{1FCCD624-BF12-494C-9A06-2E8A3976E770}" destId="{FD0711BE-7458-4871-90CA-4CA72D6C4156}" srcOrd="1" destOrd="0" presId="urn:microsoft.com/office/officeart/2005/8/layout/list1"/>
    <dgm:cxn modelId="{E1CC82BD-7E12-4EF7-9BCD-DCB466600CC6}" srcId="{1FCCD624-BF12-494C-9A06-2E8A3976E770}" destId="{99B3FCA0-0D93-4C9D-BCFE-35BF957B21F8}" srcOrd="1" destOrd="0" parTransId="{768E584A-361E-4FF4-9186-2706CB88EEBD}" sibTransId="{8629F453-D3CE-4C8F-8B58-BBF2E40129CC}"/>
    <dgm:cxn modelId="{AA95B2DF-924D-4565-B794-6B6AEB5698F2}" type="presOf" srcId="{481F12DB-EE9B-4359-A0CC-F7E82363BA13}" destId="{F04F5322-8DB7-4352-B0A5-D62FCA47DC62}" srcOrd="0" destOrd="0" presId="urn:microsoft.com/office/officeart/2005/8/layout/list1"/>
    <dgm:cxn modelId="{BB9467E9-5000-4B88-96F7-C91E1496EFC5}" type="presOf" srcId="{99B3FCA0-0D93-4C9D-BCFE-35BF957B21F8}" destId="{E801C6B7-1775-4230-BF90-75ECF8B2D6B2}" srcOrd="0" destOrd="1" presId="urn:microsoft.com/office/officeart/2005/8/layout/list1"/>
    <dgm:cxn modelId="{D704DDFB-41A0-48FD-BD22-65C0DCA1CD5B}" type="presOf" srcId="{1CA40030-F656-4783-80C6-E86CE2097AA2}" destId="{99ECF54C-8E9D-4AAC-BAFC-20F9A281DD2D}" srcOrd="0" destOrd="0" presId="urn:microsoft.com/office/officeart/2005/8/layout/list1"/>
    <dgm:cxn modelId="{EC4888FC-C652-49F2-B413-12A8497E0E71}" srcId="{A75DEFD9-D333-4807-88B0-F2CD4A187A46}" destId="{EFE77488-A773-4123-BB4C-9B237EAFAFE0}" srcOrd="3" destOrd="0" parTransId="{016DC659-3F3F-4EEC-A2E3-B7F3B855D147}" sibTransId="{975E2D39-EECE-4BC5-9AC2-B02B40C5E305}"/>
    <dgm:cxn modelId="{B87679FD-B632-492F-956A-A8CB8D235A24}" srcId="{A75DEFD9-D333-4807-88B0-F2CD4A187A46}" destId="{1FCCD624-BF12-494C-9A06-2E8A3976E770}" srcOrd="0" destOrd="0" parTransId="{1FD93DA7-52D9-4FD5-A66D-DFB3F8FD2168}" sibTransId="{5C1976DE-8753-480C-879A-15542A202D50}"/>
    <dgm:cxn modelId="{34F51AFE-64BD-49D3-B97F-A59EE06E1575}" srcId="{EFE77488-A773-4123-BB4C-9B237EAFAFE0}" destId="{07E867A1-11E7-405D-8980-B04043A5C97C}" srcOrd="0" destOrd="0" parTransId="{F0BAAEE2-FDD9-4567-AFB2-50B3967462D8}" sibTransId="{E445F03B-B37A-40E5-98AD-D428DDD90C94}"/>
    <dgm:cxn modelId="{3D055E6B-4814-4149-B6B0-C099FFD49C77}" type="presParOf" srcId="{C80E0C23-AD2F-430B-9AB2-35979D7107D4}" destId="{81317D33-A2DB-4AE0-BE2E-65BD95C7FE60}" srcOrd="0" destOrd="0" presId="urn:microsoft.com/office/officeart/2005/8/layout/list1"/>
    <dgm:cxn modelId="{682ACBA3-DDB7-44B1-AB8A-804289B6F3AE}" type="presParOf" srcId="{81317D33-A2DB-4AE0-BE2E-65BD95C7FE60}" destId="{EF470AAF-034B-4526-A343-E3D4FF64BFB8}" srcOrd="0" destOrd="0" presId="urn:microsoft.com/office/officeart/2005/8/layout/list1"/>
    <dgm:cxn modelId="{1340DE1B-2750-41B1-9AD4-2A026D7DD737}" type="presParOf" srcId="{81317D33-A2DB-4AE0-BE2E-65BD95C7FE60}" destId="{FD0711BE-7458-4871-90CA-4CA72D6C4156}" srcOrd="1" destOrd="0" presId="urn:microsoft.com/office/officeart/2005/8/layout/list1"/>
    <dgm:cxn modelId="{8AB4EEBE-4DF3-4930-AE15-0FF398CE3719}" type="presParOf" srcId="{C80E0C23-AD2F-430B-9AB2-35979D7107D4}" destId="{946BFB03-AD04-43AC-BF0E-C2461BE05D53}" srcOrd="1" destOrd="0" presId="urn:microsoft.com/office/officeart/2005/8/layout/list1"/>
    <dgm:cxn modelId="{8163DF53-06E0-490A-85D2-AD2FF55F458D}" type="presParOf" srcId="{C80E0C23-AD2F-430B-9AB2-35979D7107D4}" destId="{E801C6B7-1775-4230-BF90-75ECF8B2D6B2}" srcOrd="2" destOrd="0" presId="urn:microsoft.com/office/officeart/2005/8/layout/list1"/>
    <dgm:cxn modelId="{F84F334C-D701-4FFE-B518-BCCB4739C0E2}" type="presParOf" srcId="{C80E0C23-AD2F-430B-9AB2-35979D7107D4}" destId="{9098644A-28F4-4F2E-800B-432099B1A55F}" srcOrd="3" destOrd="0" presId="urn:microsoft.com/office/officeart/2005/8/layout/list1"/>
    <dgm:cxn modelId="{8419004D-5470-4B94-910E-B92A92BD3E81}" type="presParOf" srcId="{C80E0C23-AD2F-430B-9AB2-35979D7107D4}" destId="{167221AA-CF7C-4121-A11A-2CDA30D1A54D}" srcOrd="4" destOrd="0" presId="urn:microsoft.com/office/officeart/2005/8/layout/list1"/>
    <dgm:cxn modelId="{5E2E366E-811E-4DB7-827E-ABBFB90B15AE}" type="presParOf" srcId="{167221AA-CF7C-4121-A11A-2CDA30D1A54D}" destId="{F04F5322-8DB7-4352-B0A5-D62FCA47DC62}" srcOrd="0" destOrd="0" presId="urn:microsoft.com/office/officeart/2005/8/layout/list1"/>
    <dgm:cxn modelId="{69852726-DBFE-41DD-8B30-78FB6BB1DD6D}" type="presParOf" srcId="{167221AA-CF7C-4121-A11A-2CDA30D1A54D}" destId="{1356BA5C-F987-4F9C-B2CE-272FCA4BCED9}" srcOrd="1" destOrd="0" presId="urn:microsoft.com/office/officeart/2005/8/layout/list1"/>
    <dgm:cxn modelId="{1D6D05E3-CB3C-483D-8C6E-0B1DB468EA9A}" type="presParOf" srcId="{C80E0C23-AD2F-430B-9AB2-35979D7107D4}" destId="{F6C02299-3C32-4A0E-9A0F-8C941FD5E612}" srcOrd="5" destOrd="0" presId="urn:microsoft.com/office/officeart/2005/8/layout/list1"/>
    <dgm:cxn modelId="{D3CCF608-1D4D-4A87-82CC-251FEC953963}" type="presParOf" srcId="{C80E0C23-AD2F-430B-9AB2-35979D7107D4}" destId="{679C91E1-1291-4EA7-BACE-38CAB1F28488}" srcOrd="6" destOrd="0" presId="urn:microsoft.com/office/officeart/2005/8/layout/list1"/>
    <dgm:cxn modelId="{304F28D4-C7FB-4429-A782-AA4E001344E6}" type="presParOf" srcId="{C80E0C23-AD2F-430B-9AB2-35979D7107D4}" destId="{0ACBB483-6CE2-4ADA-BF9B-9555E9F1E3A3}" srcOrd="7" destOrd="0" presId="urn:microsoft.com/office/officeart/2005/8/layout/list1"/>
    <dgm:cxn modelId="{3D8A866A-AD1F-4862-B859-0A3C0188151F}" type="presParOf" srcId="{C80E0C23-AD2F-430B-9AB2-35979D7107D4}" destId="{86328B4B-1D3E-4AA1-9FAE-808A2AF61304}" srcOrd="8" destOrd="0" presId="urn:microsoft.com/office/officeart/2005/8/layout/list1"/>
    <dgm:cxn modelId="{0D12AB1A-5C03-4B15-811E-BC9EDD36A8AF}" type="presParOf" srcId="{86328B4B-1D3E-4AA1-9FAE-808A2AF61304}" destId="{99ECF54C-8E9D-4AAC-BAFC-20F9A281DD2D}" srcOrd="0" destOrd="0" presId="urn:microsoft.com/office/officeart/2005/8/layout/list1"/>
    <dgm:cxn modelId="{32D17F45-33CE-44F4-9980-EC0EA4E3E17B}" type="presParOf" srcId="{86328B4B-1D3E-4AA1-9FAE-808A2AF61304}" destId="{B066B733-64A8-4999-B959-216A50F854B4}" srcOrd="1" destOrd="0" presId="urn:microsoft.com/office/officeart/2005/8/layout/list1"/>
    <dgm:cxn modelId="{B2191241-0795-4BDC-85AA-0A51FDB0B004}" type="presParOf" srcId="{C80E0C23-AD2F-430B-9AB2-35979D7107D4}" destId="{28FBC814-258B-4F24-BB52-F11D412D35A4}" srcOrd="9" destOrd="0" presId="urn:microsoft.com/office/officeart/2005/8/layout/list1"/>
    <dgm:cxn modelId="{0988F904-D89D-4DF6-BC1B-2D8A0189E8CA}" type="presParOf" srcId="{C80E0C23-AD2F-430B-9AB2-35979D7107D4}" destId="{22604C87-B59D-4228-B3F6-B1B02299CCFC}" srcOrd="10" destOrd="0" presId="urn:microsoft.com/office/officeart/2005/8/layout/list1"/>
    <dgm:cxn modelId="{3F040943-3A1E-451C-BC72-757BABAEDA8A}" type="presParOf" srcId="{C80E0C23-AD2F-430B-9AB2-35979D7107D4}" destId="{E5028734-D04F-4313-84D4-3BAF8B2CB0D2}" srcOrd="11" destOrd="0" presId="urn:microsoft.com/office/officeart/2005/8/layout/list1"/>
    <dgm:cxn modelId="{D46A2FE8-0784-414B-AECA-B98A4702F16E}" type="presParOf" srcId="{C80E0C23-AD2F-430B-9AB2-35979D7107D4}" destId="{4D839240-B384-4B68-9D3E-4ACF740DC1A9}" srcOrd="12" destOrd="0" presId="urn:microsoft.com/office/officeart/2005/8/layout/list1"/>
    <dgm:cxn modelId="{9617E2EB-5731-471D-AB50-D4F941C6B1C8}" type="presParOf" srcId="{4D839240-B384-4B68-9D3E-4ACF740DC1A9}" destId="{EB018154-AAA0-4329-9CE0-61F36A452471}" srcOrd="0" destOrd="0" presId="urn:microsoft.com/office/officeart/2005/8/layout/list1"/>
    <dgm:cxn modelId="{6E007023-1CE2-45AA-88CC-A18F7D64E728}" type="presParOf" srcId="{4D839240-B384-4B68-9D3E-4ACF740DC1A9}" destId="{D441D088-00B6-4C6F-BEDD-F1BA3F9BD363}" srcOrd="1" destOrd="0" presId="urn:microsoft.com/office/officeart/2005/8/layout/list1"/>
    <dgm:cxn modelId="{E33B73EE-B2D3-4424-9BAE-9E23E44ED876}" type="presParOf" srcId="{C80E0C23-AD2F-430B-9AB2-35979D7107D4}" destId="{38F6CE62-3C86-4FA5-B658-0D69BB9227CF}" srcOrd="13" destOrd="0" presId="urn:microsoft.com/office/officeart/2005/8/layout/list1"/>
    <dgm:cxn modelId="{DF0019B2-4B7B-47EC-84A2-E71E2EE8F036}" type="presParOf" srcId="{C80E0C23-AD2F-430B-9AB2-35979D7107D4}" destId="{4CA03281-9939-45B1-B92D-A4A5062007F1}"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51CCE3A0-C825-4050-974A-1179D9BE2458}"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en-US"/>
        </a:p>
      </dgm:t>
    </dgm:pt>
    <dgm:pt modelId="{90122B4F-8430-43D4-AAD3-311D9BF0294F}">
      <dgm:prSet custT="1"/>
      <dgm:spPr/>
      <dgm:t>
        <a:bodyPr/>
        <a:lstStyle/>
        <a:p>
          <a:r>
            <a:rPr lang="en-US" sz="2400" baseline="0" dirty="0"/>
            <a:t>Database Scoped Credentials</a:t>
          </a:r>
          <a:endParaRPr lang="en-US" sz="2400" dirty="0"/>
        </a:p>
      </dgm:t>
    </dgm:pt>
    <dgm:pt modelId="{DA55ECBE-6111-4EE2-BA00-EE8137940FC4}" type="parTrans" cxnId="{A7474E97-9EF8-4B01-9066-24129B22A5DF}">
      <dgm:prSet/>
      <dgm:spPr/>
      <dgm:t>
        <a:bodyPr/>
        <a:lstStyle/>
        <a:p>
          <a:endParaRPr lang="en-US"/>
        </a:p>
      </dgm:t>
    </dgm:pt>
    <dgm:pt modelId="{68909919-6355-4F20-89C4-30ADEF3643E5}" type="sibTrans" cxnId="{A7474E97-9EF8-4B01-9066-24129B22A5DF}">
      <dgm:prSet/>
      <dgm:spPr/>
      <dgm:t>
        <a:bodyPr/>
        <a:lstStyle/>
        <a:p>
          <a:endParaRPr lang="en-US"/>
        </a:p>
      </dgm:t>
    </dgm:pt>
    <dgm:pt modelId="{3983D73F-AEF1-4D5F-8DE1-A77C7C06ABF2}">
      <dgm:prSet custT="1"/>
      <dgm:spPr/>
      <dgm:t>
        <a:bodyPr/>
        <a:lstStyle/>
        <a:p>
          <a:r>
            <a:rPr lang="en-US" sz="2400" baseline="0" dirty="0"/>
            <a:t>Used to connect to master database</a:t>
          </a:r>
          <a:endParaRPr lang="en-US" sz="2400" dirty="0"/>
        </a:p>
      </dgm:t>
    </dgm:pt>
    <dgm:pt modelId="{C8B64B73-E2E2-4425-977A-FE4D5B0BDF6F}" type="parTrans" cxnId="{3F2D562C-F8AA-4989-B31F-F4C8418CCA80}">
      <dgm:prSet/>
      <dgm:spPr/>
      <dgm:t>
        <a:bodyPr/>
        <a:lstStyle/>
        <a:p>
          <a:endParaRPr lang="en-US"/>
        </a:p>
      </dgm:t>
    </dgm:pt>
    <dgm:pt modelId="{204D29FF-F19E-4150-B082-A67FF2DD6636}" type="sibTrans" cxnId="{3F2D562C-F8AA-4989-B31F-F4C8418CCA80}">
      <dgm:prSet/>
      <dgm:spPr/>
      <dgm:t>
        <a:bodyPr/>
        <a:lstStyle/>
        <a:p>
          <a:endParaRPr lang="en-US"/>
        </a:p>
      </dgm:t>
    </dgm:pt>
    <dgm:pt modelId="{BB99EC1D-ECA5-4299-AFC0-122ADE0E9072}">
      <dgm:prSet custT="1"/>
      <dgm:spPr/>
      <dgm:t>
        <a:bodyPr/>
        <a:lstStyle/>
        <a:p>
          <a:r>
            <a:rPr lang="en-US" sz="2400" baseline="0" dirty="0"/>
            <a:t>Create a user in every database.</a:t>
          </a:r>
          <a:endParaRPr lang="en-US" sz="2400" dirty="0"/>
        </a:p>
      </dgm:t>
    </dgm:pt>
    <dgm:pt modelId="{7CD1C608-753E-42F9-A3C9-DE258E80DFD5}" type="parTrans" cxnId="{0948CC4E-0897-4A64-A1AB-B8F3D4463D2D}">
      <dgm:prSet/>
      <dgm:spPr/>
      <dgm:t>
        <a:bodyPr/>
        <a:lstStyle/>
        <a:p>
          <a:endParaRPr lang="en-US"/>
        </a:p>
      </dgm:t>
    </dgm:pt>
    <dgm:pt modelId="{EB22375D-B28D-4E4C-A4D4-2DA668CA9060}" type="sibTrans" cxnId="{0948CC4E-0897-4A64-A1AB-B8F3D4463D2D}">
      <dgm:prSet/>
      <dgm:spPr/>
      <dgm:t>
        <a:bodyPr/>
        <a:lstStyle/>
        <a:p>
          <a:endParaRPr lang="en-US"/>
        </a:p>
      </dgm:t>
    </dgm:pt>
    <dgm:pt modelId="{19DB8AA7-72CE-47A5-A60F-4E5D1C7402C4}" type="pres">
      <dgm:prSet presAssocID="{51CCE3A0-C825-4050-974A-1179D9BE2458}" presName="Name0" presStyleCnt="0">
        <dgm:presLayoutVars>
          <dgm:dir/>
          <dgm:animLvl val="lvl"/>
          <dgm:resizeHandles val="exact"/>
        </dgm:presLayoutVars>
      </dgm:prSet>
      <dgm:spPr/>
    </dgm:pt>
    <dgm:pt modelId="{BE1E85FE-4F4A-4D33-9A6D-A0E7C6B98AE3}" type="pres">
      <dgm:prSet presAssocID="{90122B4F-8430-43D4-AAD3-311D9BF0294F}" presName="linNode" presStyleCnt="0"/>
      <dgm:spPr/>
    </dgm:pt>
    <dgm:pt modelId="{4C7841E6-54F9-404C-B9DB-D073C8001858}" type="pres">
      <dgm:prSet presAssocID="{90122B4F-8430-43D4-AAD3-311D9BF0294F}" presName="parentText" presStyleLbl="node1" presStyleIdx="0" presStyleCnt="3" custScaleX="177156" custScaleY="177156">
        <dgm:presLayoutVars>
          <dgm:chMax val="1"/>
          <dgm:bulletEnabled val="1"/>
        </dgm:presLayoutVars>
      </dgm:prSet>
      <dgm:spPr/>
    </dgm:pt>
    <dgm:pt modelId="{6E01F233-4F20-4E46-8986-5E6667F200B0}" type="pres">
      <dgm:prSet presAssocID="{68909919-6355-4F20-89C4-30ADEF3643E5}" presName="sp" presStyleCnt="0"/>
      <dgm:spPr/>
    </dgm:pt>
    <dgm:pt modelId="{0C281201-831C-416B-A055-3D33D71F0E75}" type="pres">
      <dgm:prSet presAssocID="{3983D73F-AEF1-4D5F-8DE1-A77C7C06ABF2}" presName="linNode" presStyleCnt="0"/>
      <dgm:spPr/>
    </dgm:pt>
    <dgm:pt modelId="{987537C2-AA27-4ECC-9A56-66E35CD5EB76}" type="pres">
      <dgm:prSet presAssocID="{3983D73F-AEF1-4D5F-8DE1-A77C7C06ABF2}" presName="parentText" presStyleLbl="node1" presStyleIdx="1" presStyleCnt="3" custScaleX="177156" custScaleY="177156">
        <dgm:presLayoutVars>
          <dgm:chMax val="1"/>
          <dgm:bulletEnabled val="1"/>
        </dgm:presLayoutVars>
      </dgm:prSet>
      <dgm:spPr/>
    </dgm:pt>
    <dgm:pt modelId="{57D26966-7204-449D-AEFB-9BC09F1B4DF4}" type="pres">
      <dgm:prSet presAssocID="{204D29FF-F19E-4150-B082-A67FF2DD6636}" presName="sp" presStyleCnt="0"/>
      <dgm:spPr/>
    </dgm:pt>
    <dgm:pt modelId="{9AA900BF-6CB4-42F9-9CAF-BB11F2E943D9}" type="pres">
      <dgm:prSet presAssocID="{BB99EC1D-ECA5-4299-AFC0-122ADE0E9072}" presName="linNode" presStyleCnt="0"/>
      <dgm:spPr/>
    </dgm:pt>
    <dgm:pt modelId="{FB288A62-7723-4549-AD05-87605401A11E}" type="pres">
      <dgm:prSet presAssocID="{BB99EC1D-ECA5-4299-AFC0-122ADE0E9072}" presName="parentText" presStyleLbl="node1" presStyleIdx="2" presStyleCnt="3" custScaleX="177156" custScaleY="177156">
        <dgm:presLayoutVars>
          <dgm:chMax val="1"/>
          <dgm:bulletEnabled val="1"/>
        </dgm:presLayoutVars>
      </dgm:prSet>
      <dgm:spPr/>
    </dgm:pt>
  </dgm:ptLst>
  <dgm:cxnLst>
    <dgm:cxn modelId="{56DB3D0C-FD63-4114-9EDC-F0388DEFE9FA}" type="presOf" srcId="{3983D73F-AEF1-4D5F-8DE1-A77C7C06ABF2}" destId="{987537C2-AA27-4ECC-9A56-66E35CD5EB76}" srcOrd="0" destOrd="0" presId="urn:microsoft.com/office/officeart/2005/8/layout/vList5"/>
    <dgm:cxn modelId="{46A7860C-564D-4E96-9109-F0114DEFE016}" type="presOf" srcId="{51CCE3A0-C825-4050-974A-1179D9BE2458}" destId="{19DB8AA7-72CE-47A5-A60F-4E5D1C7402C4}" srcOrd="0" destOrd="0" presId="urn:microsoft.com/office/officeart/2005/8/layout/vList5"/>
    <dgm:cxn modelId="{3F2D562C-F8AA-4989-B31F-F4C8418CCA80}" srcId="{51CCE3A0-C825-4050-974A-1179D9BE2458}" destId="{3983D73F-AEF1-4D5F-8DE1-A77C7C06ABF2}" srcOrd="1" destOrd="0" parTransId="{C8B64B73-E2E2-4425-977A-FE4D5B0BDF6F}" sibTransId="{204D29FF-F19E-4150-B082-A67FF2DD6636}"/>
    <dgm:cxn modelId="{0948CC4E-0897-4A64-A1AB-B8F3D4463D2D}" srcId="{51CCE3A0-C825-4050-974A-1179D9BE2458}" destId="{BB99EC1D-ECA5-4299-AFC0-122ADE0E9072}" srcOrd="2" destOrd="0" parTransId="{7CD1C608-753E-42F9-A3C9-DE258E80DFD5}" sibTransId="{EB22375D-B28D-4E4C-A4D4-2DA668CA9060}"/>
    <dgm:cxn modelId="{A7474E97-9EF8-4B01-9066-24129B22A5DF}" srcId="{51CCE3A0-C825-4050-974A-1179D9BE2458}" destId="{90122B4F-8430-43D4-AAD3-311D9BF0294F}" srcOrd="0" destOrd="0" parTransId="{DA55ECBE-6111-4EE2-BA00-EE8137940FC4}" sibTransId="{68909919-6355-4F20-89C4-30ADEF3643E5}"/>
    <dgm:cxn modelId="{C24FEDD9-7E8C-4E47-A5ED-66D098912EFC}" type="presOf" srcId="{90122B4F-8430-43D4-AAD3-311D9BF0294F}" destId="{4C7841E6-54F9-404C-B9DB-D073C8001858}" srcOrd="0" destOrd="0" presId="urn:microsoft.com/office/officeart/2005/8/layout/vList5"/>
    <dgm:cxn modelId="{2A195EFE-A49E-458B-911D-826E62CF60FF}" type="presOf" srcId="{BB99EC1D-ECA5-4299-AFC0-122ADE0E9072}" destId="{FB288A62-7723-4549-AD05-87605401A11E}" srcOrd="0" destOrd="0" presId="urn:microsoft.com/office/officeart/2005/8/layout/vList5"/>
    <dgm:cxn modelId="{35C2FD98-7F6C-43B1-9837-BB7EB58756D3}" type="presParOf" srcId="{19DB8AA7-72CE-47A5-A60F-4E5D1C7402C4}" destId="{BE1E85FE-4F4A-4D33-9A6D-A0E7C6B98AE3}" srcOrd="0" destOrd="0" presId="urn:microsoft.com/office/officeart/2005/8/layout/vList5"/>
    <dgm:cxn modelId="{9C971B53-2AA2-49DC-8732-A9D91C01D646}" type="presParOf" srcId="{BE1E85FE-4F4A-4D33-9A6D-A0E7C6B98AE3}" destId="{4C7841E6-54F9-404C-B9DB-D073C8001858}" srcOrd="0" destOrd="0" presId="urn:microsoft.com/office/officeart/2005/8/layout/vList5"/>
    <dgm:cxn modelId="{7F0D7143-6036-4AE1-A9B6-8A037D741CE4}" type="presParOf" srcId="{19DB8AA7-72CE-47A5-A60F-4E5D1C7402C4}" destId="{6E01F233-4F20-4E46-8986-5E6667F200B0}" srcOrd="1" destOrd="0" presId="urn:microsoft.com/office/officeart/2005/8/layout/vList5"/>
    <dgm:cxn modelId="{B4630B9A-F5B8-4CEC-98B1-4B83EBC8BC27}" type="presParOf" srcId="{19DB8AA7-72CE-47A5-A60F-4E5D1C7402C4}" destId="{0C281201-831C-416B-A055-3D33D71F0E75}" srcOrd="2" destOrd="0" presId="urn:microsoft.com/office/officeart/2005/8/layout/vList5"/>
    <dgm:cxn modelId="{1074A89E-9737-4136-8A3B-DBC3AB93BDB9}" type="presParOf" srcId="{0C281201-831C-416B-A055-3D33D71F0E75}" destId="{987537C2-AA27-4ECC-9A56-66E35CD5EB76}" srcOrd="0" destOrd="0" presId="urn:microsoft.com/office/officeart/2005/8/layout/vList5"/>
    <dgm:cxn modelId="{DCEECDB9-E6A9-4FF8-BC35-353E120321E5}" type="presParOf" srcId="{19DB8AA7-72CE-47A5-A60F-4E5D1C7402C4}" destId="{57D26966-7204-449D-AEFB-9BC09F1B4DF4}" srcOrd="3" destOrd="0" presId="urn:microsoft.com/office/officeart/2005/8/layout/vList5"/>
    <dgm:cxn modelId="{AD731496-8D4B-43A0-B350-B0170AB6DA68}" type="presParOf" srcId="{19DB8AA7-72CE-47A5-A60F-4E5D1C7402C4}" destId="{9AA900BF-6CB4-42F9-9CAF-BB11F2E943D9}" srcOrd="4" destOrd="0" presId="urn:microsoft.com/office/officeart/2005/8/layout/vList5"/>
    <dgm:cxn modelId="{8FAF2180-28A5-4144-8B8E-2D47693C1750}" type="presParOf" srcId="{9AA900BF-6CB4-42F9-9CAF-BB11F2E943D9}" destId="{FB288A62-7723-4549-AD05-87605401A11E}" srcOrd="0"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998A52B4-8E47-4A04-86D2-993644FFCE4D}"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EFB1294D-8C17-4B27-8E2D-688CDFDE5FAC}">
      <dgm:prSet phldrT="[Text]" custT="1"/>
      <dgm:spPr>
        <a:noFill/>
        <a:ln>
          <a:noFill/>
        </a:ln>
        <a:effectLst/>
      </dgm:spPr>
      <dgm:t>
        <a:bodyPr spcFirstLastPara="0" vert="horz" wrap="square" lIns="160388" tIns="160388" rIns="160388" bIns="160388" numCol="1" spcCol="1270" anchor="ctr" anchorCtr="0"/>
        <a:lstStyle/>
        <a:p>
          <a:pPr>
            <a:lnSpc>
              <a:spcPct val="100000"/>
            </a:lnSpc>
          </a:pPr>
          <a:r>
            <a:rPr kumimoji="0" lang="nl-BE" sz="2400" b="0" i="0" u="none" strike="noStrike" kern="1200" cap="none" spc="0" normalizeH="0" baseline="0" dirty="0">
              <a:ln>
                <a:noFill/>
              </a:ln>
              <a:solidFill>
                <a:schemeClr val="tx1"/>
              </a:solidFill>
              <a:effectLst/>
              <a:uLnTx/>
              <a:uFillTx/>
              <a:latin typeface="Segoe UI" panose="020B0502040204020203" pitchFamily="34" charset="0"/>
              <a:ea typeface="+mn-ea"/>
              <a:cs typeface="+mn-cs"/>
            </a:rPr>
            <a:t>Create</a:t>
          </a:r>
          <a:r>
            <a:rPr lang="nl-BE" sz="2400" kern="1200" dirty="0">
              <a:solidFill>
                <a:schemeClr val="tx1"/>
              </a:solidFill>
              <a:latin typeface="Segoe UI" panose="020B0502040204020203" pitchFamily="34" charset="0"/>
              <a:ea typeface="+mn-ea"/>
              <a:cs typeface="+mn-cs"/>
            </a:rPr>
            <a:t> a linked server to the Azure Database.</a:t>
          </a:r>
          <a:endParaRPr lang="en-US" sz="2400" kern="1200" dirty="0">
            <a:solidFill>
              <a:schemeClr val="tx1"/>
            </a:solidFill>
            <a:latin typeface="Segoe UI" panose="020B0502040204020203" pitchFamily="34" charset="0"/>
            <a:ea typeface="+mn-ea"/>
            <a:cs typeface="+mn-cs"/>
          </a:endParaRPr>
        </a:p>
      </dgm:t>
    </dgm:pt>
    <dgm:pt modelId="{949EA6FC-455D-4AD2-B030-A4BC982B604C}" type="parTrans" cxnId="{434535B2-0ED7-4A7F-99B6-1ABAB82A691B}">
      <dgm:prSet/>
      <dgm:spPr/>
      <dgm:t>
        <a:bodyPr/>
        <a:lstStyle/>
        <a:p>
          <a:endParaRPr lang="en-US"/>
        </a:p>
      </dgm:t>
    </dgm:pt>
    <dgm:pt modelId="{7938BD44-CBAE-4351-8D0B-1D80B3CBACBF}" type="sibTrans" cxnId="{434535B2-0ED7-4A7F-99B6-1ABAB82A691B}">
      <dgm:prSet/>
      <dgm:spPr/>
      <dgm:t>
        <a:bodyPr/>
        <a:lstStyle/>
        <a:p>
          <a:endParaRPr lang="en-US"/>
        </a:p>
      </dgm:t>
    </dgm:pt>
    <dgm:pt modelId="{DC368090-CA4D-4437-8C81-36E95B2F498A}">
      <dgm:prSet phldrT="[Text]" custT="1"/>
      <dgm:spPr>
        <a:noFill/>
        <a:ln>
          <a:noFill/>
        </a:ln>
        <a:effectLst/>
      </dgm:spPr>
      <dgm:t>
        <a:bodyPr spcFirstLastPara="0" vert="horz" wrap="square" lIns="160388" tIns="160388" rIns="160388" bIns="160388" numCol="1" spcCol="1270" anchor="ctr" anchorCtr="0"/>
        <a:lstStyle/>
        <a:p>
          <a:pPr>
            <a:lnSpc>
              <a:spcPct val="100000"/>
            </a:lnSpc>
          </a:pPr>
          <a:r>
            <a:rPr kumimoji="0" lang="nl-BE" sz="2400" b="0" i="0" u="none" strike="noStrike" kern="1200" cap="none" spc="0" normalizeH="0" baseline="0" dirty="0">
              <a:ln>
                <a:noFill/>
              </a:ln>
              <a:solidFill>
                <a:schemeClr val="tx1"/>
              </a:solidFill>
              <a:effectLst/>
              <a:uLnTx/>
              <a:uFillTx/>
              <a:latin typeface="Segoe UI" panose="020B0502040204020203" pitchFamily="34" charset="0"/>
              <a:ea typeface="+mn-ea"/>
              <a:cs typeface="+mn-cs"/>
            </a:rPr>
            <a:t>Schedule</a:t>
          </a:r>
          <a:r>
            <a:rPr lang="nl-BE" sz="2400" kern="1200" dirty="0">
              <a:solidFill>
                <a:schemeClr val="tx1"/>
              </a:solidFill>
              <a:latin typeface="Segoe UI" panose="020B0502040204020203" pitchFamily="34" charset="0"/>
              <a:ea typeface="+mn-ea"/>
              <a:cs typeface="+mn-cs"/>
            </a:rPr>
            <a:t> the job from your on-premises or Azure VM SQL Server by using the linked server.</a:t>
          </a:r>
          <a:endParaRPr lang="en-US" sz="2400" kern="1200" dirty="0">
            <a:solidFill>
              <a:schemeClr val="tx1"/>
            </a:solidFill>
            <a:latin typeface="Segoe UI" panose="020B0502040204020203" pitchFamily="34" charset="0"/>
            <a:ea typeface="+mn-ea"/>
            <a:cs typeface="+mn-cs"/>
          </a:endParaRPr>
        </a:p>
      </dgm:t>
    </dgm:pt>
    <dgm:pt modelId="{4011462C-3712-4843-BE44-88781A07484A}" type="parTrans" cxnId="{2E320416-0744-4AAF-8C07-4B1FAB2D2C50}">
      <dgm:prSet/>
      <dgm:spPr/>
      <dgm:t>
        <a:bodyPr/>
        <a:lstStyle/>
        <a:p>
          <a:endParaRPr lang="en-US"/>
        </a:p>
      </dgm:t>
    </dgm:pt>
    <dgm:pt modelId="{A02A3EE5-A97B-415B-8376-F67F148C3A62}" type="sibTrans" cxnId="{2E320416-0744-4AAF-8C07-4B1FAB2D2C50}">
      <dgm:prSet/>
      <dgm:spPr/>
      <dgm:t>
        <a:bodyPr/>
        <a:lstStyle/>
        <a:p>
          <a:endParaRPr lang="en-US"/>
        </a:p>
      </dgm:t>
    </dgm:pt>
    <dgm:pt modelId="{1252AB10-1F2A-4DD6-8FD4-5E3838DE0C44}" type="pres">
      <dgm:prSet presAssocID="{998A52B4-8E47-4A04-86D2-993644FFCE4D}" presName="root" presStyleCnt="0">
        <dgm:presLayoutVars>
          <dgm:dir/>
          <dgm:resizeHandles val="exact"/>
        </dgm:presLayoutVars>
      </dgm:prSet>
      <dgm:spPr/>
    </dgm:pt>
    <dgm:pt modelId="{F86C1C64-A508-4339-BA0E-7EFD702DB59D}" type="pres">
      <dgm:prSet presAssocID="{EFB1294D-8C17-4B27-8E2D-688CDFDE5FAC}" presName="compNode" presStyleCnt="0"/>
      <dgm:spPr/>
    </dgm:pt>
    <dgm:pt modelId="{A6078CB6-98D2-46FA-8C9E-0C508012BF5A}" type="pres">
      <dgm:prSet presAssocID="{EFB1294D-8C17-4B27-8E2D-688CDFDE5FAC}" presName="bgRect" presStyleLbl="bgShp" presStyleIdx="0" presStyleCnt="2"/>
      <dgm:spPr>
        <a:xfrm>
          <a:off x="0" y="820885"/>
          <a:ext cx="11503739" cy="1515480"/>
        </a:xfrm>
        <a:prstGeom prst="roundRect">
          <a:avLst>
            <a:gd name="adj" fmla="val 10000"/>
          </a:avLst>
        </a:prstGeom>
        <a:noFill/>
        <a:ln>
          <a:noFill/>
        </a:ln>
        <a:effectLst/>
      </dgm:spPr>
    </dgm:pt>
    <dgm:pt modelId="{7D3EDF49-2269-4E25-9B8A-EE7C7F42F1C8}" type="pres">
      <dgm:prSet presAssocID="{EFB1294D-8C17-4B27-8E2D-688CDFDE5FAC}" presName="iconRect" presStyleLbl="node1" presStyleIdx="0" presStyleCnt="2"/>
      <dgm:spPr>
        <a:xfrm>
          <a:off x="458432" y="1161868"/>
          <a:ext cx="833514" cy="83351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gm:spPr>
      <dgm:extLst>
        <a:ext uri="{E40237B7-FDA0-4F09-8148-C483321AD2D9}">
          <dgm14:cNvPr xmlns:dgm14="http://schemas.microsoft.com/office/drawing/2010/diagram" id="0" name="" descr="Database"/>
        </a:ext>
      </dgm:extLst>
    </dgm:pt>
    <dgm:pt modelId="{A7F4CF62-D667-4CE9-BCA3-FD26083F9942}" type="pres">
      <dgm:prSet presAssocID="{EFB1294D-8C17-4B27-8E2D-688CDFDE5FAC}" presName="spaceRect" presStyleCnt="0"/>
      <dgm:spPr/>
    </dgm:pt>
    <dgm:pt modelId="{4E77A3C5-9E95-4F0F-B71F-F8AA1FA485FF}" type="pres">
      <dgm:prSet presAssocID="{EFB1294D-8C17-4B27-8E2D-688CDFDE5FAC}" presName="parTx" presStyleLbl="revTx" presStyleIdx="0" presStyleCnt="2">
        <dgm:presLayoutVars>
          <dgm:chMax val="0"/>
          <dgm:chPref val="0"/>
        </dgm:presLayoutVars>
      </dgm:prSet>
      <dgm:spPr>
        <a:xfrm>
          <a:off x="1750379" y="820885"/>
          <a:ext cx="9753359" cy="1515480"/>
        </a:xfrm>
        <a:prstGeom prst="rect">
          <a:avLst/>
        </a:prstGeom>
      </dgm:spPr>
    </dgm:pt>
    <dgm:pt modelId="{100F2AC6-92A5-488E-887A-8E508C7B9AF1}" type="pres">
      <dgm:prSet presAssocID="{7938BD44-CBAE-4351-8D0B-1D80B3CBACBF}" presName="sibTrans" presStyleCnt="0"/>
      <dgm:spPr/>
    </dgm:pt>
    <dgm:pt modelId="{C0F3B603-1E77-4471-81A3-372F6C451BC9}" type="pres">
      <dgm:prSet presAssocID="{DC368090-CA4D-4437-8C81-36E95B2F498A}" presName="compNode" presStyleCnt="0"/>
      <dgm:spPr/>
    </dgm:pt>
    <dgm:pt modelId="{8A8A1765-E37E-4D98-A3EC-64107B28BF0C}" type="pres">
      <dgm:prSet presAssocID="{DC368090-CA4D-4437-8C81-36E95B2F498A}" presName="bgRect" presStyleLbl="bgShp" presStyleIdx="1" presStyleCnt="2"/>
      <dgm:spPr>
        <a:xfrm>
          <a:off x="0" y="2715235"/>
          <a:ext cx="11503739" cy="1515480"/>
        </a:xfrm>
        <a:prstGeom prst="roundRect">
          <a:avLst>
            <a:gd name="adj" fmla="val 10000"/>
          </a:avLst>
        </a:prstGeom>
        <a:noFill/>
        <a:ln>
          <a:noFill/>
        </a:ln>
        <a:effectLst/>
      </dgm:spPr>
    </dgm:pt>
    <dgm:pt modelId="{2923DE33-6FA0-4FFA-9BAE-19C83CF69868}" type="pres">
      <dgm:prSet presAssocID="{DC368090-CA4D-4437-8C81-36E95B2F498A}" presName="iconRect" presStyleLbl="node1" presStyleIdx="1" presStyleCnt="2"/>
      <dgm:spPr>
        <a:xfrm>
          <a:off x="458432" y="3056218"/>
          <a:ext cx="833514" cy="83351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gm:spPr>
      <dgm:extLst>
        <a:ext uri="{E40237B7-FDA0-4F09-8148-C483321AD2D9}">
          <dgm14:cNvPr xmlns:dgm14="http://schemas.microsoft.com/office/drawing/2010/diagram" id="0" name="" descr="Computer"/>
        </a:ext>
      </dgm:extLst>
    </dgm:pt>
    <dgm:pt modelId="{8AC37899-30D5-4A5D-9AAD-B038F5EC4ECF}" type="pres">
      <dgm:prSet presAssocID="{DC368090-CA4D-4437-8C81-36E95B2F498A}" presName="spaceRect" presStyleCnt="0"/>
      <dgm:spPr/>
    </dgm:pt>
    <dgm:pt modelId="{B13234C9-3501-4AEF-87ED-DBA02D6B4151}" type="pres">
      <dgm:prSet presAssocID="{DC368090-CA4D-4437-8C81-36E95B2F498A}" presName="parTx" presStyleLbl="revTx" presStyleIdx="1" presStyleCnt="2">
        <dgm:presLayoutVars>
          <dgm:chMax val="0"/>
          <dgm:chPref val="0"/>
        </dgm:presLayoutVars>
      </dgm:prSet>
      <dgm:spPr>
        <a:xfrm>
          <a:off x="1750379" y="2715235"/>
          <a:ext cx="9753359" cy="1515480"/>
        </a:xfrm>
        <a:prstGeom prst="rect">
          <a:avLst/>
        </a:prstGeom>
      </dgm:spPr>
    </dgm:pt>
  </dgm:ptLst>
  <dgm:cxnLst>
    <dgm:cxn modelId="{2E320416-0744-4AAF-8C07-4B1FAB2D2C50}" srcId="{998A52B4-8E47-4A04-86D2-993644FFCE4D}" destId="{DC368090-CA4D-4437-8C81-36E95B2F498A}" srcOrd="1" destOrd="0" parTransId="{4011462C-3712-4843-BE44-88781A07484A}" sibTransId="{A02A3EE5-A97B-415B-8376-F67F148C3A62}"/>
    <dgm:cxn modelId="{56C49736-E5E6-4219-84BC-1F37D9B62D44}" type="presOf" srcId="{EFB1294D-8C17-4B27-8E2D-688CDFDE5FAC}" destId="{4E77A3C5-9E95-4F0F-B71F-F8AA1FA485FF}" srcOrd="0" destOrd="0" presId="urn:microsoft.com/office/officeart/2018/2/layout/IconVerticalSolidList"/>
    <dgm:cxn modelId="{6E2E5644-86B2-47CD-8E2F-3DA0817AE566}" type="presOf" srcId="{998A52B4-8E47-4A04-86D2-993644FFCE4D}" destId="{1252AB10-1F2A-4DD6-8FD4-5E3838DE0C44}" srcOrd="0" destOrd="0" presId="urn:microsoft.com/office/officeart/2018/2/layout/IconVerticalSolidList"/>
    <dgm:cxn modelId="{DC0094AA-437F-417D-9C86-BD9F09FA05F4}" type="presOf" srcId="{DC368090-CA4D-4437-8C81-36E95B2F498A}" destId="{B13234C9-3501-4AEF-87ED-DBA02D6B4151}" srcOrd="0" destOrd="0" presId="urn:microsoft.com/office/officeart/2018/2/layout/IconVerticalSolidList"/>
    <dgm:cxn modelId="{434535B2-0ED7-4A7F-99B6-1ABAB82A691B}" srcId="{998A52B4-8E47-4A04-86D2-993644FFCE4D}" destId="{EFB1294D-8C17-4B27-8E2D-688CDFDE5FAC}" srcOrd="0" destOrd="0" parTransId="{949EA6FC-455D-4AD2-B030-A4BC982B604C}" sibTransId="{7938BD44-CBAE-4351-8D0B-1D80B3CBACBF}"/>
    <dgm:cxn modelId="{B5BC1984-DD58-4D32-82B5-DF44588FA4C9}" type="presParOf" srcId="{1252AB10-1F2A-4DD6-8FD4-5E3838DE0C44}" destId="{F86C1C64-A508-4339-BA0E-7EFD702DB59D}" srcOrd="0" destOrd="0" presId="urn:microsoft.com/office/officeart/2018/2/layout/IconVerticalSolidList"/>
    <dgm:cxn modelId="{37E55774-0C4C-4F14-9E2C-EE863BF6FC4A}" type="presParOf" srcId="{F86C1C64-A508-4339-BA0E-7EFD702DB59D}" destId="{A6078CB6-98D2-46FA-8C9E-0C508012BF5A}" srcOrd="0" destOrd="0" presId="urn:microsoft.com/office/officeart/2018/2/layout/IconVerticalSolidList"/>
    <dgm:cxn modelId="{642C52CF-37B4-458E-8C5E-294B05177F15}" type="presParOf" srcId="{F86C1C64-A508-4339-BA0E-7EFD702DB59D}" destId="{7D3EDF49-2269-4E25-9B8A-EE7C7F42F1C8}" srcOrd="1" destOrd="0" presId="urn:microsoft.com/office/officeart/2018/2/layout/IconVerticalSolidList"/>
    <dgm:cxn modelId="{0565235A-04D6-412E-B66B-626FB09033FC}" type="presParOf" srcId="{F86C1C64-A508-4339-BA0E-7EFD702DB59D}" destId="{A7F4CF62-D667-4CE9-BCA3-FD26083F9942}" srcOrd="2" destOrd="0" presId="urn:microsoft.com/office/officeart/2018/2/layout/IconVerticalSolidList"/>
    <dgm:cxn modelId="{1700967A-7DB1-4B3B-8FA2-FAF703219B3E}" type="presParOf" srcId="{F86C1C64-A508-4339-BA0E-7EFD702DB59D}" destId="{4E77A3C5-9E95-4F0F-B71F-F8AA1FA485FF}" srcOrd="3" destOrd="0" presId="urn:microsoft.com/office/officeart/2018/2/layout/IconVerticalSolidList"/>
    <dgm:cxn modelId="{D80D8892-3D43-4E5B-B2E8-77973B6B7584}" type="presParOf" srcId="{1252AB10-1F2A-4DD6-8FD4-5E3838DE0C44}" destId="{100F2AC6-92A5-488E-887A-8E508C7B9AF1}" srcOrd="1" destOrd="0" presId="urn:microsoft.com/office/officeart/2018/2/layout/IconVerticalSolidList"/>
    <dgm:cxn modelId="{03B9F73C-EB35-447F-B3AD-4581C0D8E144}" type="presParOf" srcId="{1252AB10-1F2A-4DD6-8FD4-5E3838DE0C44}" destId="{C0F3B603-1E77-4471-81A3-372F6C451BC9}" srcOrd="2" destOrd="0" presId="urn:microsoft.com/office/officeart/2018/2/layout/IconVerticalSolidList"/>
    <dgm:cxn modelId="{2BC189BD-31CC-47AD-A392-5374EE8276FC}" type="presParOf" srcId="{C0F3B603-1E77-4471-81A3-372F6C451BC9}" destId="{8A8A1765-E37E-4D98-A3EC-64107B28BF0C}" srcOrd="0" destOrd="0" presId="urn:microsoft.com/office/officeart/2018/2/layout/IconVerticalSolidList"/>
    <dgm:cxn modelId="{877E9C85-B839-4EFF-AC1D-DD3EF10B4FBF}" type="presParOf" srcId="{C0F3B603-1E77-4471-81A3-372F6C451BC9}" destId="{2923DE33-6FA0-4FFA-9BAE-19C83CF69868}" srcOrd="1" destOrd="0" presId="urn:microsoft.com/office/officeart/2018/2/layout/IconVerticalSolidList"/>
    <dgm:cxn modelId="{5858CAC7-BEAF-4792-A7A5-A13FEC6BFECF}" type="presParOf" srcId="{C0F3B603-1E77-4471-81A3-372F6C451BC9}" destId="{8AC37899-30D5-4A5D-9AAD-B038F5EC4ECF}" srcOrd="2" destOrd="0" presId="urn:microsoft.com/office/officeart/2018/2/layout/IconVerticalSolidList"/>
    <dgm:cxn modelId="{58A00FDB-8106-4768-B462-5D1840F01E73}" type="presParOf" srcId="{C0F3B603-1E77-4471-81A3-372F6C451BC9}" destId="{B13234C9-3501-4AEF-87ED-DBA02D6B4151}"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46F0D819-448C-4E6C-9DEA-5F7E2DED1A72}"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CD121239-8CC0-4052-83EE-4B8EF80EDA39}">
      <dgm:prSet custT="1"/>
      <dgm:spPr/>
      <dgm:t>
        <a:bodyPr/>
        <a:lstStyle/>
        <a:p>
          <a:r>
            <a:rPr lang="en-US" sz="2400" baseline="0" dirty="0"/>
            <a:t>Microsoft Azure Automation provides a way for users to automate the manual, long-running, error-prone, and frequently repeated tasks that are commonly performed in a cloud and enterprise environment.</a:t>
          </a:r>
          <a:endParaRPr lang="en-US" sz="2400" dirty="0"/>
        </a:p>
      </dgm:t>
    </dgm:pt>
    <dgm:pt modelId="{1ACC6649-0B15-4491-8991-A3D007C4A473}" type="parTrans" cxnId="{E0AAADA2-E4F0-4F1B-8AC1-EA31312AE183}">
      <dgm:prSet/>
      <dgm:spPr/>
      <dgm:t>
        <a:bodyPr/>
        <a:lstStyle/>
        <a:p>
          <a:endParaRPr lang="en-US"/>
        </a:p>
      </dgm:t>
    </dgm:pt>
    <dgm:pt modelId="{714345DC-B586-44D8-ABD3-2686B0730B39}" type="sibTrans" cxnId="{E0AAADA2-E4F0-4F1B-8AC1-EA31312AE183}">
      <dgm:prSet/>
      <dgm:spPr/>
      <dgm:t>
        <a:bodyPr/>
        <a:lstStyle/>
        <a:p>
          <a:endParaRPr lang="en-US"/>
        </a:p>
      </dgm:t>
    </dgm:pt>
    <dgm:pt modelId="{8D914B5B-5FBA-4D8C-B421-0CE64275EBD2}" type="pres">
      <dgm:prSet presAssocID="{46F0D819-448C-4E6C-9DEA-5F7E2DED1A72}" presName="linear" presStyleCnt="0">
        <dgm:presLayoutVars>
          <dgm:animLvl val="lvl"/>
          <dgm:resizeHandles val="exact"/>
        </dgm:presLayoutVars>
      </dgm:prSet>
      <dgm:spPr/>
    </dgm:pt>
    <dgm:pt modelId="{E243B323-9ED0-40B6-B976-D36F7DE88463}" type="pres">
      <dgm:prSet presAssocID="{CD121239-8CC0-4052-83EE-4B8EF80EDA39}" presName="parentText" presStyleLbl="node1" presStyleIdx="0" presStyleCnt="1">
        <dgm:presLayoutVars>
          <dgm:chMax val="0"/>
          <dgm:bulletEnabled val="1"/>
        </dgm:presLayoutVars>
      </dgm:prSet>
      <dgm:spPr/>
    </dgm:pt>
  </dgm:ptLst>
  <dgm:cxnLst>
    <dgm:cxn modelId="{2D01EE65-D6D2-44B2-9365-D575A4B9D1B8}" type="presOf" srcId="{46F0D819-448C-4E6C-9DEA-5F7E2DED1A72}" destId="{8D914B5B-5FBA-4D8C-B421-0CE64275EBD2}" srcOrd="0" destOrd="0" presId="urn:microsoft.com/office/officeart/2005/8/layout/vList2"/>
    <dgm:cxn modelId="{E79FB87A-69D7-460B-B930-6B95350C5AD8}" type="presOf" srcId="{CD121239-8CC0-4052-83EE-4B8EF80EDA39}" destId="{E243B323-9ED0-40B6-B976-D36F7DE88463}" srcOrd="0" destOrd="0" presId="urn:microsoft.com/office/officeart/2005/8/layout/vList2"/>
    <dgm:cxn modelId="{E0AAADA2-E4F0-4F1B-8AC1-EA31312AE183}" srcId="{46F0D819-448C-4E6C-9DEA-5F7E2DED1A72}" destId="{CD121239-8CC0-4052-83EE-4B8EF80EDA39}" srcOrd="0" destOrd="0" parTransId="{1ACC6649-0B15-4491-8991-A3D007C4A473}" sibTransId="{714345DC-B586-44D8-ABD3-2686B0730B39}"/>
    <dgm:cxn modelId="{C45766BF-D07B-44B5-AFCD-DB54C0BB73FF}" type="presParOf" srcId="{8D914B5B-5FBA-4D8C-B421-0CE64275EBD2}" destId="{E243B323-9ED0-40B6-B976-D36F7DE88463}"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1E22CD36-B980-4D1F-A626-CC9283CAAC74}" type="doc">
      <dgm:prSet loTypeId="urn:microsoft.com/office/officeart/2018/2/layout/IconLabelList" loCatId="icon" qsTypeId="urn:microsoft.com/office/officeart/2005/8/quickstyle/simple1" qsCatId="simple" csTypeId="urn:microsoft.com/office/officeart/2005/8/colors/accent1_2" csCatId="accent1" phldr="1"/>
      <dgm:spPr/>
      <dgm:t>
        <a:bodyPr/>
        <a:lstStyle/>
        <a:p>
          <a:endParaRPr lang="en-US"/>
        </a:p>
      </dgm:t>
    </dgm:pt>
    <dgm:pt modelId="{B26DF504-475D-4385-B051-8676CE6A3D2C}">
      <dgm:prSet phldrT="[Text]" custT="1"/>
      <dgm:spPr>
        <a:xfrm>
          <a:off x="197219" y="2902770"/>
          <a:ext cx="3316209" cy="1216933"/>
        </a:xfrm>
        <a:prstGeom prst="rect">
          <a:avLst/>
        </a:prstGeom>
        <a:noFill/>
        <a:ln>
          <a:noFill/>
        </a:ln>
        <a:effectLst/>
      </dgm:spPr>
      <dgm:t>
        <a:bodyPr/>
        <a:lstStyle/>
        <a:p>
          <a:pPr>
            <a:lnSpc>
              <a:spcPct val="100000"/>
            </a:lnSpc>
            <a:buNone/>
          </a:pPr>
          <a:r>
            <a:rPr lang="en-US" sz="1800" dirty="0">
              <a:solidFill>
                <a:schemeClr val="tx1"/>
              </a:solidFill>
              <a:latin typeface="Segoe UI" panose="020B0502040204020203" pitchFamily="34" charset="0"/>
              <a:ea typeface="+mn-ea"/>
              <a:cs typeface="Segoe UI" panose="020B0502040204020203" pitchFamily="34" charset="0"/>
            </a:rPr>
            <a:t>Automating processes with runbooks.</a:t>
          </a:r>
        </a:p>
        <a:p>
          <a:pPr>
            <a:buNone/>
          </a:pPr>
          <a:endParaRPr lang="en-US" sz="1800" dirty="0">
            <a:solidFill>
              <a:srgbClr val="505050">
                <a:hueOff val="0"/>
                <a:satOff val="0"/>
                <a:lumOff val="0"/>
                <a:alphaOff val="0"/>
              </a:srgbClr>
            </a:solidFill>
            <a:latin typeface="Segoe UI"/>
            <a:ea typeface="+mn-ea"/>
            <a:cs typeface="+mn-cs"/>
          </a:endParaRPr>
        </a:p>
      </dgm:t>
    </dgm:pt>
    <dgm:pt modelId="{EAA29C3E-5603-4AF3-B00C-500C47BECF49}" type="parTrans" cxnId="{2F8EA01E-5965-4060-A21E-7B09D72090E6}">
      <dgm:prSet/>
      <dgm:spPr/>
      <dgm:t>
        <a:bodyPr/>
        <a:lstStyle/>
        <a:p>
          <a:endParaRPr lang="en-US"/>
        </a:p>
      </dgm:t>
    </dgm:pt>
    <dgm:pt modelId="{8B003F33-A1E2-4A60-818F-539BCDD008A8}" type="sibTrans" cxnId="{2F8EA01E-5965-4060-A21E-7B09D72090E6}">
      <dgm:prSet/>
      <dgm:spPr/>
      <dgm:t>
        <a:bodyPr/>
        <a:lstStyle/>
        <a:p>
          <a:endParaRPr lang="en-US"/>
        </a:p>
      </dgm:t>
    </dgm:pt>
    <dgm:pt modelId="{E2F1BCFB-B492-4BE4-987E-E029360FDFC1}">
      <dgm:prSet phldrT="[Text]" custT="1"/>
      <dgm:spPr>
        <a:xfrm>
          <a:off x="4093764" y="2902770"/>
          <a:ext cx="3316209" cy="1216933"/>
        </a:xfrm>
        <a:prstGeom prst="rect">
          <a:avLst/>
        </a:prstGeom>
        <a:noFill/>
        <a:ln>
          <a:noFill/>
        </a:ln>
        <a:effectLst/>
      </dgm:spPr>
      <dgm:t>
        <a:bodyPr/>
        <a:lstStyle/>
        <a:p>
          <a:pPr>
            <a:lnSpc>
              <a:spcPct val="100000"/>
            </a:lnSpc>
            <a:buNone/>
          </a:pPr>
          <a:r>
            <a:rPr lang="en-US" sz="1800" kern="1200" dirty="0">
              <a:solidFill>
                <a:schemeClr val="tx1"/>
              </a:solidFill>
              <a:latin typeface="Segoe UI" panose="020B0502040204020203" pitchFamily="34" charset="0"/>
              <a:ea typeface="+mn-ea"/>
              <a:cs typeface="+mn-cs"/>
            </a:rPr>
            <a:t>Runbook is a set of tasks that perform some automated process in Azure Automation.</a:t>
          </a:r>
        </a:p>
        <a:p>
          <a:pPr marL="0" lvl="0" indent="0" defTabSz="933450">
            <a:spcBef>
              <a:spcPct val="0"/>
            </a:spcBef>
            <a:spcAft>
              <a:spcPct val="35000"/>
            </a:spcAft>
            <a:buNone/>
          </a:pPr>
          <a:endParaRPr lang="en-US" sz="1800" kern="1200" baseline="0" dirty="0">
            <a:solidFill>
              <a:schemeClr val="tx1"/>
            </a:solidFill>
            <a:latin typeface="Segoe UI" panose="020B0502040204020203" pitchFamily="34" charset="0"/>
            <a:ea typeface="+mn-ea"/>
            <a:cs typeface="+mn-cs"/>
          </a:endParaRPr>
        </a:p>
      </dgm:t>
    </dgm:pt>
    <dgm:pt modelId="{E22E89E3-ADF9-449F-B134-4E75E33238B5}" type="parTrans" cxnId="{27692784-53FE-45D1-9FED-C449E1D2012B}">
      <dgm:prSet/>
      <dgm:spPr/>
      <dgm:t>
        <a:bodyPr/>
        <a:lstStyle/>
        <a:p>
          <a:endParaRPr lang="en-US"/>
        </a:p>
      </dgm:t>
    </dgm:pt>
    <dgm:pt modelId="{772E07FA-5A03-4627-9ABD-5EB42240B942}" type="sibTrans" cxnId="{27692784-53FE-45D1-9FED-C449E1D2012B}">
      <dgm:prSet/>
      <dgm:spPr/>
      <dgm:t>
        <a:bodyPr/>
        <a:lstStyle/>
        <a:p>
          <a:endParaRPr lang="en-US"/>
        </a:p>
      </dgm:t>
    </dgm:pt>
    <dgm:pt modelId="{B0E49745-7314-4F7B-A137-C91E1602937D}">
      <dgm:prSet phldrT="[Text]" custT="1"/>
      <dgm:spPr>
        <a:xfrm>
          <a:off x="7990310" y="2902770"/>
          <a:ext cx="3316209" cy="1216933"/>
        </a:xfrm>
        <a:prstGeom prst="rect">
          <a:avLst/>
        </a:prstGeom>
        <a:noFill/>
        <a:ln>
          <a:noFill/>
        </a:ln>
        <a:effectLst/>
      </dgm:spPr>
      <dgm:t>
        <a:bodyPr/>
        <a:lstStyle/>
        <a:p>
          <a:pPr>
            <a:lnSpc>
              <a:spcPct val="100000"/>
            </a:lnSpc>
            <a:buNone/>
          </a:pPr>
          <a:r>
            <a:rPr lang="en-US" sz="1800" kern="1200" dirty="0">
              <a:solidFill>
                <a:schemeClr val="tx1"/>
              </a:solidFill>
              <a:latin typeface="Segoe UI" panose="020B0502040204020203" pitchFamily="34" charset="0"/>
              <a:ea typeface="+mn-ea"/>
              <a:cs typeface="+mn-cs"/>
            </a:rPr>
            <a:t>Based on Windows PowerShell/ Windows PowerShell Workflow.</a:t>
          </a:r>
        </a:p>
      </dgm:t>
    </dgm:pt>
    <dgm:pt modelId="{52E7CA87-AFC0-45AE-A712-C1025AFB25B7}" type="sibTrans" cxnId="{95A07B64-BBAE-44F4-B94D-5B48AF3311FE}">
      <dgm:prSet/>
      <dgm:spPr/>
      <dgm:t>
        <a:bodyPr/>
        <a:lstStyle/>
        <a:p>
          <a:endParaRPr lang="en-US"/>
        </a:p>
      </dgm:t>
    </dgm:pt>
    <dgm:pt modelId="{8147B604-8208-4C60-B846-8B2C652E93D5}" type="parTrans" cxnId="{95A07B64-BBAE-44F4-B94D-5B48AF3311FE}">
      <dgm:prSet/>
      <dgm:spPr/>
      <dgm:t>
        <a:bodyPr/>
        <a:lstStyle/>
        <a:p>
          <a:endParaRPr lang="en-US"/>
        </a:p>
      </dgm:t>
    </dgm:pt>
    <dgm:pt modelId="{EC122273-948A-4158-AC7F-6D16CABAC133}" type="pres">
      <dgm:prSet presAssocID="{1E22CD36-B980-4D1F-A626-CC9283CAAC74}" presName="root" presStyleCnt="0">
        <dgm:presLayoutVars>
          <dgm:dir/>
          <dgm:resizeHandles val="exact"/>
        </dgm:presLayoutVars>
      </dgm:prSet>
      <dgm:spPr/>
    </dgm:pt>
    <dgm:pt modelId="{9DEED175-0382-4D09-B7CA-8C3C2FB330D7}" type="pres">
      <dgm:prSet presAssocID="{B26DF504-475D-4385-B051-8676CE6A3D2C}" presName="compNode" presStyleCnt="0"/>
      <dgm:spPr/>
    </dgm:pt>
    <dgm:pt modelId="{A778A2FD-D0F5-448D-8D98-3014EA0BAAE1}" type="pres">
      <dgm:prSet presAssocID="{B26DF504-475D-4385-B051-8676CE6A3D2C}" presName="iconRect" presStyleLbl="node1" presStyleIdx="0" presStyleCnt="3"/>
      <dgm:spPr>
        <a:xfrm>
          <a:off x="1109176" y="931896"/>
          <a:ext cx="1492294" cy="149229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gm:spPr>
      <dgm:extLst>
        <a:ext uri="{E40237B7-FDA0-4F09-8148-C483321AD2D9}">
          <dgm14:cNvPr xmlns:dgm14="http://schemas.microsoft.com/office/drawing/2010/diagram" id="0" name="" descr="Gears"/>
        </a:ext>
      </dgm:extLst>
    </dgm:pt>
    <dgm:pt modelId="{2BE7A6C5-A365-4412-98BA-6EB0DA9D0A8A}" type="pres">
      <dgm:prSet presAssocID="{B26DF504-475D-4385-B051-8676CE6A3D2C}" presName="spaceRect" presStyleCnt="0"/>
      <dgm:spPr/>
    </dgm:pt>
    <dgm:pt modelId="{CDC4A41D-A9D4-480B-96DA-5966572F6803}" type="pres">
      <dgm:prSet presAssocID="{B26DF504-475D-4385-B051-8676CE6A3D2C}" presName="textRect" presStyleLbl="revTx" presStyleIdx="0" presStyleCnt="3">
        <dgm:presLayoutVars>
          <dgm:chMax val="1"/>
          <dgm:chPref val="1"/>
        </dgm:presLayoutVars>
      </dgm:prSet>
      <dgm:spPr/>
    </dgm:pt>
    <dgm:pt modelId="{EFB530EB-04EE-4117-995A-695603169E30}" type="pres">
      <dgm:prSet presAssocID="{8B003F33-A1E2-4A60-818F-539BCDD008A8}" presName="sibTrans" presStyleCnt="0"/>
      <dgm:spPr/>
    </dgm:pt>
    <dgm:pt modelId="{3A33D657-CC39-4B04-B2DD-05B43F46350D}" type="pres">
      <dgm:prSet presAssocID="{E2F1BCFB-B492-4BE4-987E-E029360FDFC1}" presName="compNode" presStyleCnt="0"/>
      <dgm:spPr/>
    </dgm:pt>
    <dgm:pt modelId="{DD94858B-146D-4616-B322-8F0892E86848}" type="pres">
      <dgm:prSet presAssocID="{E2F1BCFB-B492-4BE4-987E-E029360FDFC1}" presName="iconRect" presStyleLbl="node1" presStyleIdx="1" presStyleCnt="3"/>
      <dgm:spPr>
        <a:xfrm>
          <a:off x="5005722" y="931896"/>
          <a:ext cx="1492294" cy="149229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gm:spPr>
      <dgm:extLst>
        <a:ext uri="{E40237B7-FDA0-4F09-8148-C483321AD2D9}">
          <dgm14:cNvPr xmlns:dgm14="http://schemas.microsoft.com/office/drawing/2010/diagram" id="0" name="" descr="Robot"/>
        </a:ext>
      </dgm:extLst>
    </dgm:pt>
    <dgm:pt modelId="{78E2BD4A-4744-44B2-93E5-56B13828449C}" type="pres">
      <dgm:prSet presAssocID="{E2F1BCFB-B492-4BE4-987E-E029360FDFC1}" presName="spaceRect" presStyleCnt="0"/>
      <dgm:spPr/>
    </dgm:pt>
    <dgm:pt modelId="{BB765A35-C7C1-492D-A150-1D83767B413A}" type="pres">
      <dgm:prSet presAssocID="{E2F1BCFB-B492-4BE4-987E-E029360FDFC1}" presName="textRect" presStyleLbl="revTx" presStyleIdx="1" presStyleCnt="3">
        <dgm:presLayoutVars>
          <dgm:chMax val="1"/>
          <dgm:chPref val="1"/>
        </dgm:presLayoutVars>
      </dgm:prSet>
      <dgm:spPr/>
    </dgm:pt>
    <dgm:pt modelId="{98BE894D-DEF9-4857-84C3-7C330F62A32F}" type="pres">
      <dgm:prSet presAssocID="{772E07FA-5A03-4627-9ABD-5EB42240B942}" presName="sibTrans" presStyleCnt="0"/>
      <dgm:spPr/>
    </dgm:pt>
    <dgm:pt modelId="{C84F187F-B40B-4D93-BE9A-7E438F22D2B2}" type="pres">
      <dgm:prSet presAssocID="{B0E49745-7314-4F7B-A137-C91E1602937D}" presName="compNode" presStyleCnt="0"/>
      <dgm:spPr/>
    </dgm:pt>
    <dgm:pt modelId="{09C27167-C41E-48C8-A3AC-641162C45E8F}" type="pres">
      <dgm:prSet presAssocID="{B0E49745-7314-4F7B-A137-C91E1602937D}" presName="iconRect" presStyleLbl="node1" presStyleIdx="2" presStyleCnt="3"/>
      <dgm:spPr>
        <a:xfrm>
          <a:off x="8902268" y="931896"/>
          <a:ext cx="1492294" cy="149229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gm:spPr>
      <dgm:extLst>
        <a:ext uri="{E40237B7-FDA0-4F09-8148-C483321AD2D9}">
          <dgm14:cNvPr xmlns:dgm14="http://schemas.microsoft.com/office/drawing/2010/diagram" id="0" name="" descr="Computer"/>
        </a:ext>
      </dgm:extLst>
    </dgm:pt>
    <dgm:pt modelId="{A7DE2D62-42F3-434B-8185-44B8215B70E2}" type="pres">
      <dgm:prSet presAssocID="{B0E49745-7314-4F7B-A137-C91E1602937D}" presName="spaceRect" presStyleCnt="0"/>
      <dgm:spPr/>
    </dgm:pt>
    <dgm:pt modelId="{483265CB-5643-428E-B8F7-5EC6F53AFA65}" type="pres">
      <dgm:prSet presAssocID="{B0E49745-7314-4F7B-A137-C91E1602937D}" presName="textRect" presStyleLbl="revTx" presStyleIdx="2" presStyleCnt="3">
        <dgm:presLayoutVars>
          <dgm:chMax val="1"/>
          <dgm:chPref val="1"/>
        </dgm:presLayoutVars>
      </dgm:prSet>
      <dgm:spPr/>
    </dgm:pt>
  </dgm:ptLst>
  <dgm:cxnLst>
    <dgm:cxn modelId="{798B8609-A94C-43E6-ABB5-1AD5893C5E5C}" type="presOf" srcId="{B26DF504-475D-4385-B051-8676CE6A3D2C}" destId="{CDC4A41D-A9D4-480B-96DA-5966572F6803}" srcOrd="0" destOrd="0" presId="urn:microsoft.com/office/officeart/2018/2/layout/IconLabelList"/>
    <dgm:cxn modelId="{2F8EA01E-5965-4060-A21E-7B09D72090E6}" srcId="{1E22CD36-B980-4D1F-A626-CC9283CAAC74}" destId="{B26DF504-475D-4385-B051-8676CE6A3D2C}" srcOrd="0" destOrd="0" parTransId="{EAA29C3E-5603-4AF3-B00C-500C47BECF49}" sibTransId="{8B003F33-A1E2-4A60-818F-539BCDD008A8}"/>
    <dgm:cxn modelId="{95A07B64-BBAE-44F4-B94D-5B48AF3311FE}" srcId="{1E22CD36-B980-4D1F-A626-CC9283CAAC74}" destId="{B0E49745-7314-4F7B-A137-C91E1602937D}" srcOrd="2" destOrd="0" parTransId="{8147B604-8208-4C60-B846-8B2C652E93D5}" sibTransId="{52E7CA87-AFC0-45AE-A712-C1025AFB25B7}"/>
    <dgm:cxn modelId="{27692784-53FE-45D1-9FED-C449E1D2012B}" srcId="{1E22CD36-B980-4D1F-A626-CC9283CAAC74}" destId="{E2F1BCFB-B492-4BE4-987E-E029360FDFC1}" srcOrd="1" destOrd="0" parTransId="{E22E89E3-ADF9-449F-B134-4E75E33238B5}" sibTransId="{772E07FA-5A03-4627-9ABD-5EB42240B942}"/>
    <dgm:cxn modelId="{5848C68C-E404-4E01-A109-1C124931D7C1}" type="presOf" srcId="{1E22CD36-B980-4D1F-A626-CC9283CAAC74}" destId="{EC122273-948A-4158-AC7F-6D16CABAC133}" srcOrd="0" destOrd="0" presId="urn:microsoft.com/office/officeart/2018/2/layout/IconLabelList"/>
    <dgm:cxn modelId="{2EDD03D1-695E-4D65-BF27-E95B9B3E4647}" type="presOf" srcId="{E2F1BCFB-B492-4BE4-987E-E029360FDFC1}" destId="{BB765A35-C7C1-492D-A150-1D83767B413A}" srcOrd="0" destOrd="0" presId="urn:microsoft.com/office/officeart/2018/2/layout/IconLabelList"/>
    <dgm:cxn modelId="{0FA552ED-69B7-4681-B5CA-C24EC6BAFF55}" type="presOf" srcId="{B0E49745-7314-4F7B-A137-C91E1602937D}" destId="{483265CB-5643-428E-B8F7-5EC6F53AFA65}" srcOrd="0" destOrd="0" presId="urn:microsoft.com/office/officeart/2018/2/layout/IconLabelList"/>
    <dgm:cxn modelId="{9A3FA2C5-F911-4140-A3F2-989EEC4D2ECB}" type="presParOf" srcId="{EC122273-948A-4158-AC7F-6D16CABAC133}" destId="{9DEED175-0382-4D09-B7CA-8C3C2FB330D7}" srcOrd="0" destOrd="0" presId="urn:microsoft.com/office/officeart/2018/2/layout/IconLabelList"/>
    <dgm:cxn modelId="{08337430-7423-4B4A-939E-D784A11E7B61}" type="presParOf" srcId="{9DEED175-0382-4D09-B7CA-8C3C2FB330D7}" destId="{A778A2FD-D0F5-448D-8D98-3014EA0BAAE1}" srcOrd="0" destOrd="0" presId="urn:microsoft.com/office/officeart/2018/2/layout/IconLabelList"/>
    <dgm:cxn modelId="{96120C59-BE51-41B9-8E6D-4F77D68450B6}" type="presParOf" srcId="{9DEED175-0382-4D09-B7CA-8C3C2FB330D7}" destId="{2BE7A6C5-A365-4412-98BA-6EB0DA9D0A8A}" srcOrd="1" destOrd="0" presId="urn:microsoft.com/office/officeart/2018/2/layout/IconLabelList"/>
    <dgm:cxn modelId="{697D19B0-C510-4C70-BA94-BF775DE4D163}" type="presParOf" srcId="{9DEED175-0382-4D09-B7CA-8C3C2FB330D7}" destId="{CDC4A41D-A9D4-480B-96DA-5966572F6803}" srcOrd="2" destOrd="0" presId="urn:microsoft.com/office/officeart/2018/2/layout/IconLabelList"/>
    <dgm:cxn modelId="{3A632F87-C890-42FD-A11C-04A8144D6FB7}" type="presParOf" srcId="{EC122273-948A-4158-AC7F-6D16CABAC133}" destId="{EFB530EB-04EE-4117-995A-695603169E30}" srcOrd="1" destOrd="0" presId="urn:microsoft.com/office/officeart/2018/2/layout/IconLabelList"/>
    <dgm:cxn modelId="{62E51B06-E88C-45C4-8065-1DD85F4A1CEE}" type="presParOf" srcId="{EC122273-948A-4158-AC7F-6D16CABAC133}" destId="{3A33D657-CC39-4B04-B2DD-05B43F46350D}" srcOrd="2" destOrd="0" presId="urn:microsoft.com/office/officeart/2018/2/layout/IconLabelList"/>
    <dgm:cxn modelId="{2E167562-EB5B-4A1C-849B-16F0AA33C56B}" type="presParOf" srcId="{3A33D657-CC39-4B04-B2DD-05B43F46350D}" destId="{DD94858B-146D-4616-B322-8F0892E86848}" srcOrd="0" destOrd="0" presId="urn:microsoft.com/office/officeart/2018/2/layout/IconLabelList"/>
    <dgm:cxn modelId="{C3F02102-E606-4247-9AD6-C1D13B501269}" type="presParOf" srcId="{3A33D657-CC39-4B04-B2DD-05B43F46350D}" destId="{78E2BD4A-4744-44B2-93E5-56B13828449C}" srcOrd="1" destOrd="0" presId="urn:microsoft.com/office/officeart/2018/2/layout/IconLabelList"/>
    <dgm:cxn modelId="{272D6212-1D43-45FB-8B22-6480B105AD63}" type="presParOf" srcId="{3A33D657-CC39-4B04-B2DD-05B43F46350D}" destId="{BB765A35-C7C1-492D-A150-1D83767B413A}" srcOrd="2" destOrd="0" presId="urn:microsoft.com/office/officeart/2018/2/layout/IconLabelList"/>
    <dgm:cxn modelId="{639C3971-349B-4FDC-B2A4-72964B1AA6E9}" type="presParOf" srcId="{EC122273-948A-4158-AC7F-6D16CABAC133}" destId="{98BE894D-DEF9-4857-84C3-7C330F62A32F}" srcOrd="3" destOrd="0" presId="urn:microsoft.com/office/officeart/2018/2/layout/IconLabelList"/>
    <dgm:cxn modelId="{D683A37B-0B38-485E-9A5C-DA0BC716DAF5}" type="presParOf" srcId="{EC122273-948A-4158-AC7F-6D16CABAC133}" destId="{C84F187F-B40B-4D93-BE9A-7E438F22D2B2}" srcOrd="4" destOrd="0" presId="urn:microsoft.com/office/officeart/2018/2/layout/IconLabelList"/>
    <dgm:cxn modelId="{56A1BBC2-AD2B-40D2-ADAF-ED930A5E76B6}" type="presParOf" srcId="{C84F187F-B40B-4D93-BE9A-7E438F22D2B2}" destId="{09C27167-C41E-48C8-A3AC-641162C45E8F}" srcOrd="0" destOrd="0" presId="urn:microsoft.com/office/officeart/2018/2/layout/IconLabelList"/>
    <dgm:cxn modelId="{359C1BDA-6ADE-44B0-86C6-2A9675F377AC}" type="presParOf" srcId="{C84F187F-B40B-4D93-BE9A-7E438F22D2B2}" destId="{A7DE2D62-42F3-434B-8185-44B8215B70E2}" srcOrd="1" destOrd="0" presId="urn:microsoft.com/office/officeart/2018/2/layout/IconLabelList"/>
    <dgm:cxn modelId="{432F0F5A-BE8A-41C3-A0BC-87AC7A2879F6}" type="presParOf" srcId="{C84F187F-B40B-4D93-BE9A-7E438F22D2B2}" destId="{483265CB-5643-428E-B8F7-5EC6F53AFA65}" srcOrd="2" destOrd="0" presId="urn:microsoft.com/office/officeart/2018/2/layout/IconLabel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4DAB315-C818-48F5-B2A2-2B8F59EB26AE}" type="doc">
      <dgm:prSet loTypeId="urn:microsoft.com/office/officeart/2005/8/layout/process1" loCatId="process" qsTypeId="urn:microsoft.com/office/officeart/2005/8/quickstyle/simple1" qsCatId="simple" csTypeId="urn:microsoft.com/office/officeart/2005/8/colors/colorful2" csCatId="colorful"/>
      <dgm:spPr/>
      <dgm:t>
        <a:bodyPr/>
        <a:lstStyle/>
        <a:p>
          <a:endParaRPr lang="en-US"/>
        </a:p>
      </dgm:t>
    </dgm:pt>
    <dgm:pt modelId="{5B7B16BF-9B9F-4FED-946E-D5D335880ACA}">
      <dgm:prSet custT="1"/>
      <dgm:spPr/>
      <dgm:t>
        <a:bodyPr/>
        <a:lstStyle/>
        <a:p>
          <a:r>
            <a:rPr lang="en-US" sz="2000" baseline="0"/>
            <a:t>Download the latest version of SSDT.</a:t>
          </a:r>
          <a:endParaRPr lang="en-US" sz="2000"/>
        </a:p>
      </dgm:t>
    </dgm:pt>
    <dgm:pt modelId="{B53B0109-3C0C-4E1A-87C5-6A25141C1889}" type="parTrans" cxnId="{073E994F-3B9D-4169-94DD-37016174E77F}">
      <dgm:prSet/>
      <dgm:spPr/>
      <dgm:t>
        <a:bodyPr/>
        <a:lstStyle/>
        <a:p>
          <a:endParaRPr lang="en-US" sz="2000"/>
        </a:p>
      </dgm:t>
    </dgm:pt>
    <dgm:pt modelId="{90DCA341-F937-4BA6-B81F-1E1D187330F6}" type="sibTrans" cxnId="{073E994F-3B9D-4169-94DD-37016174E77F}">
      <dgm:prSet custT="1"/>
      <dgm:spPr/>
      <dgm:t>
        <a:bodyPr/>
        <a:lstStyle/>
        <a:p>
          <a:endParaRPr lang="en-US" sz="1600"/>
        </a:p>
      </dgm:t>
    </dgm:pt>
    <dgm:pt modelId="{FC716494-712E-4AA6-A801-0A5EC5F1B76B}">
      <dgm:prSet custT="1"/>
      <dgm:spPr/>
      <dgm:t>
        <a:bodyPr/>
        <a:lstStyle/>
        <a:p>
          <a:r>
            <a:rPr lang="en-US" sz="2000" baseline="0" dirty="0"/>
            <a:t>Get the fully qualified domain name of your Azure SQL Server.</a:t>
          </a:r>
          <a:endParaRPr lang="en-US" sz="2000" dirty="0"/>
        </a:p>
      </dgm:t>
    </dgm:pt>
    <dgm:pt modelId="{C882CA73-A724-45F6-8883-56DF63AF373F}" type="parTrans" cxnId="{92745F0F-2CBD-46C7-93E7-D9908107B58E}">
      <dgm:prSet/>
      <dgm:spPr/>
      <dgm:t>
        <a:bodyPr/>
        <a:lstStyle/>
        <a:p>
          <a:endParaRPr lang="en-US" sz="2000"/>
        </a:p>
      </dgm:t>
    </dgm:pt>
    <dgm:pt modelId="{20D14C57-A72E-4394-B652-0BDD2D214895}" type="sibTrans" cxnId="{92745F0F-2CBD-46C7-93E7-D9908107B58E}">
      <dgm:prSet custT="1"/>
      <dgm:spPr/>
      <dgm:t>
        <a:bodyPr/>
        <a:lstStyle/>
        <a:p>
          <a:endParaRPr lang="en-US" sz="1600"/>
        </a:p>
      </dgm:t>
    </dgm:pt>
    <dgm:pt modelId="{FFAFCB27-220C-47BD-BF7F-80705F615D2D}">
      <dgm:prSet custT="1"/>
      <dgm:spPr/>
      <dgm:t>
        <a:bodyPr/>
        <a:lstStyle/>
        <a:p>
          <a:r>
            <a:rPr lang="en-US" sz="2000" baseline="0"/>
            <a:t>Connect to your SQL Database.</a:t>
          </a:r>
          <a:endParaRPr lang="en-US" sz="2000"/>
        </a:p>
      </dgm:t>
    </dgm:pt>
    <dgm:pt modelId="{6458BCB3-E07E-4CDB-8898-BF602E1295FD}" type="parTrans" cxnId="{97449FEC-A489-436F-A00C-7DA93A6DF37B}">
      <dgm:prSet/>
      <dgm:spPr/>
      <dgm:t>
        <a:bodyPr/>
        <a:lstStyle/>
        <a:p>
          <a:endParaRPr lang="en-US" sz="2000"/>
        </a:p>
      </dgm:t>
    </dgm:pt>
    <dgm:pt modelId="{23E317EF-A376-44A0-B2C6-1DC33DC4307F}" type="sibTrans" cxnId="{97449FEC-A489-436F-A00C-7DA93A6DF37B}">
      <dgm:prSet/>
      <dgm:spPr/>
      <dgm:t>
        <a:bodyPr/>
        <a:lstStyle/>
        <a:p>
          <a:endParaRPr lang="en-US" sz="2000"/>
        </a:p>
      </dgm:t>
    </dgm:pt>
    <dgm:pt modelId="{E20FF6A1-BE2D-4F6F-A320-B7D05D9BE659}" type="pres">
      <dgm:prSet presAssocID="{54DAB315-C818-48F5-B2A2-2B8F59EB26AE}" presName="Name0" presStyleCnt="0">
        <dgm:presLayoutVars>
          <dgm:dir/>
          <dgm:resizeHandles val="exact"/>
        </dgm:presLayoutVars>
      </dgm:prSet>
      <dgm:spPr/>
    </dgm:pt>
    <dgm:pt modelId="{EAF1D71A-5372-4ACA-AF75-E8A494B9E0A3}" type="pres">
      <dgm:prSet presAssocID="{5B7B16BF-9B9F-4FED-946E-D5D335880ACA}" presName="node" presStyleLbl="node1" presStyleIdx="0" presStyleCnt="3">
        <dgm:presLayoutVars>
          <dgm:bulletEnabled val="1"/>
        </dgm:presLayoutVars>
      </dgm:prSet>
      <dgm:spPr/>
    </dgm:pt>
    <dgm:pt modelId="{CDE82545-E10A-4425-8721-DBCD3EB85392}" type="pres">
      <dgm:prSet presAssocID="{90DCA341-F937-4BA6-B81F-1E1D187330F6}" presName="sibTrans" presStyleLbl="sibTrans2D1" presStyleIdx="0" presStyleCnt="2"/>
      <dgm:spPr/>
    </dgm:pt>
    <dgm:pt modelId="{B29618DA-F96E-474C-9411-D8090F73E584}" type="pres">
      <dgm:prSet presAssocID="{90DCA341-F937-4BA6-B81F-1E1D187330F6}" presName="connectorText" presStyleLbl="sibTrans2D1" presStyleIdx="0" presStyleCnt="2"/>
      <dgm:spPr/>
    </dgm:pt>
    <dgm:pt modelId="{94CB2C75-E19A-4D95-9C38-1822337E482F}" type="pres">
      <dgm:prSet presAssocID="{FC716494-712E-4AA6-A801-0A5EC5F1B76B}" presName="node" presStyleLbl="node1" presStyleIdx="1" presStyleCnt="3">
        <dgm:presLayoutVars>
          <dgm:bulletEnabled val="1"/>
        </dgm:presLayoutVars>
      </dgm:prSet>
      <dgm:spPr/>
    </dgm:pt>
    <dgm:pt modelId="{1ADFBFD9-3FAD-4050-9112-76D56B934E5F}" type="pres">
      <dgm:prSet presAssocID="{20D14C57-A72E-4394-B652-0BDD2D214895}" presName="sibTrans" presStyleLbl="sibTrans2D1" presStyleIdx="1" presStyleCnt="2"/>
      <dgm:spPr/>
    </dgm:pt>
    <dgm:pt modelId="{0EBBBECB-DDD5-4C81-979B-42DBB034102B}" type="pres">
      <dgm:prSet presAssocID="{20D14C57-A72E-4394-B652-0BDD2D214895}" presName="connectorText" presStyleLbl="sibTrans2D1" presStyleIdx="1" presStyleCnt="2"/>
      <dgm:spPr/>
    </dgm:pt>
    <dgm:pt modelId="{CC673CCA-A32F-4316-B153-3E0197EF3EF8}" type="pres">
      <dgm:prSet presAssocID="{FFAFCB27-220C-47BD-BF7F-80705F615D2D}" presName="node" presStyleLbl="node1" presStyleIdx="2" presStyleCnt="3">
        <dgm:presLayoutVars>
          <dgm:bulletEnabled val="1"/>
        </dgm:presLayoutVars>
      </dgm:prSet>
      <dgm:spPr/>
    </dgm:pt>
  </dgm:ptLst>
  <dgm:cxnLst>
    <dgm:cxn modelId="{92745F0F-2CBD-46C7-93E7-D9908107B58E}" srcId="{54DAB315-C818-48F5-B2A2-2B8F59EB26AE}" destId="{FC716494-712E-4AA6-A801-0A5EC5F1B76B}" srcOrd="1" destOrd="0" parTransId="{C882CA73-A724-45F6-8883-56DF63AF373F}" sibTransId="{20D14C57-A72E-4394-B652-0BDD2D214895}"/>
    <dgm:cxn modelId="{7DD30F14-26CB-4BF4-9F91-89ACB2F56BBC}" type="presOf" srcId="{20D14C57-A72E-4394-B652-0BDD2D214895}" destId="{0EBBBECB-DDD5-4C81-979B-42DBB034102B}" srcOrd="1" destOrd="0" presId="urn:microsoft.com/office/officeart/2005/8/layout/process1"/>
    <dgm:cxn modelId="{14CF5537-7344-4344-9EFF-C62CFB4500B8}" type="presOf" srcId="{FC716494-712E-4AA6-A801-0A5EC5F1B76B}" destId="{94CB2C75-E19A-4D95-9C38-1822337E482F}" srcOrd="0" destOrd="0" presId="urn:microsoft.com/office/officeart/2005/8/layout/process1"/>
    <dgm:cxn modelId="{0AD95A40-9220-46B1-BA4E-712F5783D0DB}" type="presOf" srcId="{90DCA341-F937-4BA6-B81F-1E1D187330F6}" destId="{B29618DA-F96E-474C-9411-D8090F73E584}" srcOrd="1" destOrd="0" presId="urn:microsoft.com/office/officeart/2005/8/layout/process1"/>
    <dgm:cxn modelId="{85508262-3E04-4331-B4DB-FAB303454025}" type="presOf" srcId="{90DCA341-F937-4BA6-B81F-1E1D187330F6}" destId="{CDE82545-E10A-4425-8721-DBCD3EB85392}" srcOrd="0" destOrd="0" presId="urn:microsoft.com/office/officeart/2005/8/layout/process1"/>
    <dgm:cxn modelId="{073E994F-3B9D-4169-94DD-37016174E77F}" srcId="{54DAB315-C818-48F5-B2A2-2B8F59EB26AE}" destId="{5B7B16BF-9B9F-4FED-946E-D5D335880ACA}" srcOrd="0" destOrd="0" parTransId="{B53B0109-3C0C-4E1A-87C5-6A25141C1889}" sibTransId="{90DCA341-F937-4BA6-B81F-1E1D187330F6}"/>
    <dgm:cxn modelId="{B80E9C70-CD64-4E50-83E9-2C651CF82A1C}" type="presOf" srcId="{20D14C57-A72E-4394-B652-0BDD2D214895}" destId="{1ADFBFD9-3FAD-4050-9112-76D56B934E5F}" srcOrd="0" destOrd="0" presId="urn:microsoft.com/office/officeart/2005/8/layout/process1"/>
    <dgm:cxn modelId="{C3A4AA79-8E14-4185-8E70-36F5B0392BE8}" type="presOf" srcId="{5B7B16BF-9B9F-4FED-946E-D5D335880ACA}" destId="{EAF1D71A-5372-4ACA-AF75-E8A494B9E0A3}" srcOrd="0" destOrd="0" presId="urn:microsoft.com/office/officeart/2005/8/layout/process1"/>
    <dgm:cxn modelId="{C19129B2-730C-4D87-8555-761B74ACC9E3}" type="presOf" srcId="{54DAB315-C818-48F5-B2A2-2B8F59EB26AE}" destId="{E20FF6A1-BE2D-4F6F-A320-B7D05D9BE659}" srcOrd="0" destOrd="0" presId="urn:microsoft.com/office/officeart/2005/8/layout/process1"/>
    <dgm:cxn modelId="{CF36A9CB-6650-48AB-9CEA-E7D3C2362E0F}" type="presOf" srcId="{FFAFCB27-220C-47BD-BF7F-80705F615D2D}" destId="{CC673CCA-A32F-4316-B153-3E0197EF3EF8}" srcOrd="0" destOrd="0" presId="urn:microsoft.com/office/officeart/2005/8/layout/process1"/>
    <dgm:cxn modelId="{97449FEC-A489-436F-A00C-7DA93A6DF37B}" srcId="{54DAB315-C818-48F5-B2A2-2B8F59EB26AE}" destId="{FFAFCB27-220C-47BD-BF7F-80705F615D2D}" srcOrd="2" destOrd="0" parTransId="{6458BCB3-E07E-4CDB-8898-BF602E1295FD}" sibTransId="{23E317EF-A376-44A0-B2C6-1DC33DC4307F}"/>
    <dgm:cxn modelId="{3B6EBB1A-F740-45D7-80EF-B0F3D607A8CC}" type="presParOf" srcId="{E20FF6A1-BE2D-4F6F-A320-B7D05D9BE659}" destId="{EAF1D71A-5372-4ACA-AF75-E8A494B9E0A3}" srcOrd="0" destOrd="0" presId="urn:microsoft.com/office/officeart/2005/8/layout/process1"/>
    <dgm:cxn modelId="{36E646AF-FFF1-46D5-8F06-5160B58EE8D4}" type="presParOf" srcId="{E20FF6A1-BE2D-4F6F-A320-B7D05D9BE659}" destId="{CDE82545-E10A-4425-8721-DBCD3EB85392}" srcOrd="1" destOrd="0" presId="urn:microsoft.com/office/officeart/2005/8/layout/process1"/>
    <dgm:cxn modelId="{B22E7A16-19FA-498C-846A-B5B683929ED5}" type="presParOf" srcId="{CDE82545-E10A-4425-8721-DBCD3EB85392}" destId="{B29618DA-F96E-474C-9411-D8090F73E584}" srcOrd="0" destOrd="0" presId="urn:microsoft.com/office/officeart/2005/8/layout/process1"/>
    <dgm:cxn modelId="{0AF9DB8B-EAEA-445D-A8A9-1B4706548E66}" type="presParOf" srcId="{E20FF6A1-BE2D-4F6F-A320-B7D05D9BE659}" destId="{94CB2C75-E19A-4D95-9C38-1822337E482F}" srcOrd="2" destOrd="0" presId="urn:microsoft.com/office/officeart/2005/8/layout/process1"/>
    <dgm:cxn modelId="{5173BA51-1987-4327-B063-EEBA6EE3DC64}" type="presParOf" srcId="{E20FF6A1-BE2D-4F6F-A320-B7D05D9BE659}" destId="{1ADFBFD9-3FAD-4050-9112-76D56B934E5F}" srcOrd="3" destOrd="0" presId="urn:microsoft.com/office/officeart/2005/8/layout/process1"/>
    <dgm:cxn modelId="{397DBEBD-4BE5-4D3E-AA9C-0BF3E7567248}" type="presParOf" srcId="{1ADFBFD9-3FAD-4050-9112-76D56B934E5F}" destId="{0EBBBECB-DDD5-4C81-979B-42DBB034102B}" srcOrd="0" destOrd="0" presId="urn:microsoft.com/office/officeart/2005/8/layout/process1"/>
    <dgm:cxn modelId="{CCB60F68-6E54-42E2-BEE6-C5EFB4C1C0C5}" type="presParOf" srcId="{E20FF6A1-BE2D-4F6F-A320-B7D05D9BE659}" destId="{CC673CCA-A32F-4316-B153-3E0197EF3EF8}" srcOrd="4" destOrd="0" presId="urn:microsoft.com/office/officeart/2005/8/layout/process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dgm:spPr/>
      <dgm:t>
        <a:bodyPr/>
        <a:lstStyle/>
        <a:p>
          <a:r>
            <a:rPr lang="en-US" dirty="0">
              <a:solidFill>
                <a:srgbClr val="FFFFFF"/>
              </a:solidFill>
            </a:rPr>
            <a:t>True or False; Index maintenance still needs to be done by the DBA?</a:t>
          </a:r>
          <a:endParaRPr lang="en-US" dirty="0"/>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281881DE-2944-4F04-A497-60B69B64F7A7}">
      <dgm:prSet/>
      <dgm:spPr/>
      <dgm:t>
        <a:bodyPr/>
        <a:lstStyle/>
        <a:p>
          <a:pPr>
            <a:buFont typeface="Arial" panose="020B0604020202020204" pitchFamily="34" charset="0"/>
            <a:buChar char="•"/>
          </a:pPr>
          <a:r>
            <a:rPr lang="en-US" dirty="0">
              <a:solidFill>
                <a:srgbClr val="FFFFFF"/>
              </a:solidFill>
            </a:rPr>
            <a:t>True or False; SQL Server Jobs are scheduled as in on premises using SQL Server Agent for Azure SQL database?</a:t>
          </a:r>
          <a:endParaRPr lang="en-US" dirty="0"/>
        </a:p>
      </dgm:t>
    </dgm:pt>
    <dgm:pt modelId="{73D11348-0604-4A0C-889B-4D23E08986F2}" type="parTrans" cxnId="{9D8DB829-0366-4976-BE19-B85E87E2CB07}">
      <dgm:prSet/>
      <dgm:spPr/>
      <dgm:t>
        <a:bodyPr/>
        <a:lstStyle/>
        <a:p>
          <a:endParaRPr lang="en-US"/>
        </a:p>
      </dgm:t>
    </dgm:pt>
    <dgm:pt modelId="{B99638F4-83D0-4962-A59C-5A762567EE7E}" type="sibTrans" cxnId="{9D8DB829-0366-4976-BE19-B85E87E2CB07}">
      <dgm:prSet/>
      <dgm:spPr/>
      <dgm:t>
        <a:bodyPr/>
        <a:lstStyle/>
        <a:p>
          <a:endParaRPr lang="en-US"/>
        </a:p>
      </dgm:t>
    </dgm:pt>
    <dgm:pt modelId="{C1609E0D-3063-42CD-9F7F-818FECA4EB92}">
      <dgm:prSet/>
      <dgm:spPr/>
      <dgm:t>
        <a:bodyPr/>
        <a:lstStyle/>
        <a:p>
          <a:pPr>
            <a:buFont typeface="Arial" panose="020B0604020202020204" pitchFamily="34" charset="0"/>
            <a:buChar char="•"/>
          </a:pPr>
          <a:r>
            <a:rPr lang="en-US" dirty="0"/>
            <a:t>Why should you use Elastic Jobs. Give some examples</a:t>
          </a:r>
          <a:r>
            <a:rPr kumimoji="0" lang="en-US" b="0" i="0" u="none" strike="noStrike" cap="none" spc="0" normalizeH="0" baseline="0" noProof="0" dirty="0">
              <a:ln>
                <a:noFill/>
              </a:ln>
              <a:solidFill>
                <a:srgbClr val="FFFFFF"/>
              </a:solidFill>
              <a:effectLst/>
              <a:uLnTx/>
              <a:uFillTx/>
              <a:latin typeface="Segoe UI"/>
              <a:ea typeface="+mn-ea"/>
              <a:cs typeface="+mn-cs"/>
            </a:rPr>
            <a:t>?</a:t>
          </a:r>
          <a:endParaRPr lang="en-US" dirty="0"/>
        </a:p>
      </dgm:t>
    </dgm:pt>
    <dgm:pt modelId="{D31EDF60-AC75-4D25-A552-B1A036AA40A2}" type="parTrans" cxnId="{879EB030-E57F-49B1-B408-9FBA604414CC}">
      <dgm:prSet/>
      <dgm:spPr/>
      <dgm:t>
        <a:bodyPr/>
        <a:lstStyle/>
        <a:p>
          <a:endParaRPr lang="en-US"/>
        </a:p>
      </dgm:t>
    </dgm:pt>
    <dgm:pt modelId="{939D8399-4DAE-4EAB-9668-CE603C7ABE5A}" type="sibTrans" cxnId="{879EB030-E57F-49B1-B408-9FBA604414CC}">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3">
        <dgm:presLayoutVars>
          <dgm:chMax val="0"/>
          <dgm:bulletEnabled val="1"/>
        </dgm:presLayoutVars>
      </dgm:prSet>
      <dgm:spPr/>
    </dgm:pt>
    <dgm:pt modelId="{C612FDE1-CA0B-4448-B2A9-6EB44CD0983E}" type="pres">
      <dgm:prSet presAssocID="{CAE4D9F8-FDBB-4525-9125-6BAF56328FCE}" presName="spacer" presStyleCnt="0"/>
      <dgm:spPr/>
    </dgm:pt>
    <dgm:pt modelId="{A5F39E97-65C6-43B1-B3C1-20A35D170009}" type="pres">
      <dgm:prSet presAssocID="{281881DE-2944-4F04-A497-60B69B64F7A7}" presName="parentText" presStyleLbl="node1" presStyleIdx="1" presStyleCnt="3">
        <dgm:presLayoutVars>
          <dgm:chMax val="0"/>
          <dgm:bulletEnabled val="1"/>
        </dgm:presLayoutVars>
      </dgm:prSet>
      <dgm:spPr/>
    </dgm:pt>
    <dgm:pt modelId="{006C4D39-E94B-459F-B942-3505D38341BE}" type="pres">
      <dgm:prSet presAssocID="{B99638F4-83D0-4962-A59C-5A762567EE7E}" presName="spacer" presStyleCnt="0"/>
      <dgm:spPr/>
    </dgm:pt>
    <dgm:pt modelId="{89B78076-25D5-457E-A6BA-FD4B9CAE144E}" type="pres">
      <dgm:prSet presAssocID="{C1609E0D-3063-42CD-9F7F-818FECA4EB92}" presName="parentText" presStyleLbl="node1" presStyleIdx="2" presStyleCnt="3">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9D8DB829-0366-4976-BE19-B85E87E2CB07}" srcId="{15A7774C-B622-4F48-8F7B-AF1AAB74E997}" destId="{281881DE-2944-4F04-A497-60B69B64F7A7}" srcOrd="1" destOrd="0" parTransId="{73D11348-0604-4A0C-889B-4D23E08986F2}" sibTransId="{B99638F4-83D0-4962-A59C-5A762567EE7E}"/>
    <dgm:cxn modelId="{879EB030-E57F-49B1-B408-9FBA604414CC}" srcId="{15A7774C-B622-4F48-8F7B-AF1AAB74E997}" destId="{C1609E0D-3063-42CD-9F7F-818FECA4EB92}" srcOrd="2" destOrd="0" parTransId="{D31EDF60-AC75-4D25-A552-B1A036AA40A2}" sibTransId="{939D8399-4DAE-4EAB-9668-CE603C7ABE5A}"/>
    <dgm:cxn modelId="{9A2EEF7D-33EA-4FC8-B442-AC329D5DF1E5}" type="presOf" srcId="{281881DE-2944-4F04-A497-60B69B64F7A7}" destId="{A5F39E97-65C6-43B1-B3C1-20A35D170009}" srcOrd="0" destOrd="0" presId="urn:microsoft.com/office/officeart/2005/8/layout/vList2"/>
    <dgm:cxn modelId="{4BB646B5-2A6D-439D-A88F-AC928930541F}" srcId="{15A7774C-B622-4F48-8F7B-AF1AAB74E997}" destId="{CDCA19B1-3B45-4B24-8F19-085A650701BC}" srcOrd="0" destOrd="0" parTransId="{74BFB16A-6DC3-47DD-AE97-F15F596B23DF}" sibTransId="{CAE4D9F8-FDBB-4525-9125-6BAF56328FCE}"/>
    <dgm:cxn modelId="{281D87C7-2189-4E3B-A205-35C966250D79}" type="presOf" srcId="{C1609E0D-3063-42CD-9F7F-818FECA4EB92}" destId="{89B78076-25D5-457E-A6BA-FD4B9CAE144E}"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F343B87B-6D77-4E71-BA22-ACFAF7DDC0A7}" type="presParOf" srcId="{97400BD5-14CE-4761-8A6A-64BC46D23158}" destId="{A5F39E97-65C6-43B1-B3C1-20A35D170009}" srcOrd="2" destOrd="0" presId="urn:microsoft.com/office/officeart/2005/8/layout/vList2"/>
    <dgm:cxn modelId="{73DA6667-E018-4373-8CA6-1AFDDCCC8A51}" type="presParOf" srcId="{97400BD5-14CE-4761-8A6A-64BC46D23158}" destId="{006C4D39-E94B-459F-B942-3505D38341BE}" srcOrd="3" destOrd="0" presId="urn:microsoft.com/office/officeart/2005/8/layout/vList2"/>
    <dgm:cxn modelId="{1371A8F2-7E81-4417-9FEE-3552CB0FE17F}" type="presParOf" srcId="{97400BD5-14CE-4761-8A6A-64BC46D23158}" destId="{89B78076-25D5-457E-A6BA-FD4B9CAE144E}"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D31FE2A2-AC27-4DDC-90D2-B112944B49B4}" type="doc">
      <dgm:prSet loTypeId="urn:microsoft.com/office/officeart/2005/8/layout/hProcess9" loCatId="process" qsTypeId="urn:microsoft.com/office/officeart/2005/8/quickstyle/simple1" qsCatId="simple" csTypeId="urn:microsoft.com/office/officeart/2005/8/colors/accent1_2" csCatId="accent1"/>
      <dgm:spPr/>
      <dgm:t>
        <a:bodyPr/>
        <a:lstStyle/>
        <a:p>
          <a:endParaRPr lang="en-US"/>
        </a:p>
      </dgm:t>
    </dgm:pt>
    <dgm:pt modelId="{AFE1D3AF-7662-4376-8498-ED25CCA72AC8}">
      <dgm:prSet custT="1"/>
      <dgm:spPr/>
      <dgm:t>
        <a:bodyPr/>
        <a:lstStyle/>
        <a:p>
          <a:r>
            <a:rPr lang="en-US" sz="2400" baseline="0" dirty="0"/>
            <a:t>Read Scale-Out allows read-only workloads to be redirected to a SINGLE secondary replica.</a:t>
          </a:r>
          <a:endParaRPr lang="en-US" sz="2400" dirty="0"/>
        </a:p>
      </dgm:t>
    </dgm:pt>
    <dgm:pt modelId="{785FE787-CEE2-421A-95B4-E5BF2B5320B0}" type="parTrans" cxnId="{1BDDE704-D06A-4496-BC2C-5CB0F654D1E0}">
      <dgm:prSet/>
      <dgm:spPr/>
      <dgm:t>
        <a:bodyPr/>
        <a:lstStyle/>
        <a:p>
          <a:endParaRPr lang="en-US"/>
        </a:p>
      </dgm:t>
    </dgm:pt>
    <dgm:pt modelId="{811E5A70-3C32-4D7B-B6B4-F3F873E9B52B}" type="sibTrans" cxnId="{1BDDE704-D06A-4496-BC2C-5CB0F654D1E0}">
      <dgm:prSet/>
      <dgm:spPr/>
      <dgm:t>
        <a:bodyPr/>
        <a:lstStyle/>
        <a:p>
          <a:endParaRPr lang="en-US"/>
        </a:p>
      </dgm:t>
    </dgm:pt>
    <dgm:pt modelId="{384E6BBD-88EF-46C8-88A5-393C83CEFC33}" type="pres">
      <dgm:prSet presAssocID="{D31FE2A2-AC27-4DDC-90D2-B112944B49B4}" presName="CompostProcess" presStyleCnt="0">
        <dgm:presLayoutVars>
          <dgm:dir/>
          <dgm:resizeHandles val="exact"/>
        </dgm:presLayoutVars>
      </dgm:prSet>
      <dgm:spPr/>
    </dgm:pt>
    <dgm:pt modelId="{291EF69C-D054-4FAA-B1BA-1ABEBA2D8BFD}" type="pres">
      <dgm:prSet presAssocID="{D31FE2A2-AC27-4DDC-90D2-B112944B49B4}" presName="arrow" presStyleLbl="bgShp" presStyleIdx="0" presStyleCnt="1"/>
      <dgm:spPr/>
    </dgm:pt>
    <dgm:pt modelId="{E0B0EB7B-9D59-4EFA-A4DF-29E2E35B7E58}" type="pres">
      <dgm:prSet presAssocID="{D31FE2A2-AC27-4DDC-90D2-B112944B49B4}" presName="linearProcess" presStyleCnt="0"/>
      <dgm:spPr/>
    </dgm:pt>
    <dgm:pt modelId="{BFAB8C97-618B-4BB9-BB4D-F246D1FC7256}" type="pres">
      <dgm:prSet presAssocID="{AFE1D3AF-7662-4376-8498-ED25CCA72AC8}" presName="textNode" presStyleLbl="node1" presStyleIdx="0" presStyleCnt="1" custLinFactNeighborX="-11293" custLinFactNeighborY="2157">
        <dgm:presLayoutVars>
          <dgm:bulletEnabled val="1"/>
        </dgm:presLayoutVars>
      </dgm:prSet>
      <dgm:spPr/>
    </dgm:pt>
  </dgm:ptLst>
  <dgm:cxnLst>
    <dgm:cxn modelId="{1BDDE704-D06A-4496-BC2C-5CB0F654D1E0}" srcId="{D31FE2A2-AC27-4DDC-90D2-B112944B49B4}" destId="{AFE1D3AF-7662-4376-8498-ED25CCA72AC8}" srcOrd="0" destOrd="0" parTransId="{785FE787-CEE2-421A-95B4-E5BF2B5320B0}" sibTransId="{811E5A70-3C32-4D7B-B6B4-F3F873E9B52B}"/>
    <dgm:cxn modelId="{B753E50B-E3EF-4A9E-B263-ADAEF773EC7B}" type="presOf" srcId="{AFE1D3AF-7662-4376-8498-ED25CCA72AC8}" destId="{BFAB8C97-618B-4BB9-BB4D-F246D1FC7256}" srcOrd="0" destOrd="0" presId="urn:microsoft.com/office/officeart/2005/8/layout/hProcess9"/>
    <dgm:cxn modelId="{B6FD9DCC-6E39-4FF7-A997-8B261418CFF4}" type="presOf" srcId="{D31FE2A2-AC27-4DDC-90D2-B112944B49B4}" destId="{384E6BBD-88EF-46C8-88A5-393C83CEFC33}" srcOrd="0" destOrd="0" presId="urn:microsoft.com/office/officeart/2005/8/layout/hProcess9"/>
    <dgm:cxn modelId="{5B61F957-A2DC-44DE-8182-322E8C712998}" type="presParOf" srcId="{384E6BBD-88EF-46C8-88A5-393C83CEFC33}" destId="{291EF69C-D054-4FAA-B1BA-1ABEBA2D8BFD}" srcOrd="0" destOrd="0" presId="urn:microsoft.com/office/officeart/2005/8/layout/hProcess9"/>
    <dgm:cxn modelId="{9830D084-3A7C-4630-BEAF-35F490020F01}" type="presParOf" srcId="{384E6BBD-88EF-46C8-88A5-393C83CEFC33}" destId="{E0B0EB7B-9D59-4EFA-A4DF-29E2E35B7E58}" srcOrd="1" destOrd="0" presId="urn:microsoft.com/office/officeart/2005/8/layout/hProcess9"/>
    <dgm:cxn modelId="{F26CF5CF-D738-47EC-8013-B6D7621560D7}" type="presParOf" srcId="{E0B0EB7B-9D59-4EFA-A4DF-29E2E35B7E58}" destId="{BFAB8C97-618B-4BB9-BB4D-F246D1FC7256}" srcOrd="0"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72F055CC-86C6-4B6E-8345-5E42B5CF4A52}"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7B1B6545-ADF1-4B2A-8C4A-95768291DD86}">
      <dgm:prSet custT="1"/>
      <dgm:spPr/>
      <dgm:t>
        <a:bodyPr/>
        <a:lstStyle/>
        <a:p>
          <a:r>
            <a:rPr lang="en-US" sz="1400" baseline="0" dirty="0"/>
            <a:t>Each database in the Premium and Business Critical service tiers is automatically provisioned with several </a:t>
          </a:r>
          <a:r>
            <a:rPr lang="en-US" sz="1400" baseline="0" dirty="0" err="1"/>
            <a:t>AlwaysON</a:t>
          </a:r>
          <a:r>
            <a:rPr lang="en-US" sz="1400" baseline="0" dirty="0"/>
            <a:t> replicas to support the availability SLA. These replicas are provisioned with the same compute size as the read-write.</a:t>
          </a:r>
          <a:endParaRPr lang="en-US" sz="1400" dirty="0"/>
        </a:p>
      </dgm:t>
    </dgm:pt>
    <dgm:pt modelId="{BA5D5531-9623-4F24-ABAD-20B8669ED45F}" type="parTrans" cxnId="{E198EAEB-EEB3-4D9A-ADE1-0A3D0A843369}">
      <dgm:prSet/>
      <dgm:spPr/>
      <dgm:t>
        <a:bodyPr/>
        <a:lstStyle/>
        <a:p>
          <a:endParaRPr lang="en-US"/>
        </a:p>
      </dgm:t>
    </dgm:pt>
    <dgm:pt modelId="{8D5420C3-F90C-41C1-8368-37DF1E2B0ABA}" type="sibTrans" cxnId="{E198EAEB-EEB3-4D9A-ADE1-0A3D0A843369}">
      <dgm:prSet/>
      <dgm:spPr/>
      <dgm:t>
        <a:bodyPr/>
        <a:lstStyle/>
        <a:p>
          <a:endParaRPr lang="en-US"/>
        </a:p>
      </dgm:t>
    </dgm:pt>
    <dgm:pt modelId="{22F90170-BBCD-4E15-A0A2-C116DB9C4CFC}">
      <dgm:prSet custT="1"/>
      <dgm:spPr/>
      <dgm:t>
        <a:bodyPr/>
        <a:lstStyle/>
        <a:p>
          <a:r>
            <a:rPr lang="en-US" sz="1400" baseline="0" dirty="0"/>
            <a:t>Read Scale-Out redirects the read-only client connections to one of the ready-only replicas available instead of sharing the read-write replica.</a:t>
          </a:r>
          <a:endParaRPr lang="en-US" sz="1400" dirty="0"/>
        </a:p>
      </dgm:t>
    </dgm:pt>
    <dgm:pt modelId="{C4072278-90D8-4661-A6C6-CD9892FE8B64}" type="parTrans" cxnId="{C8948F2B-B646-4AC4-B87E-C711DCA1AA46}">
      <dgm:prSet/>
      <dgm:spPr/>
      <dgm:t>
        <a:bodyPr/>
        <a:lstStyle/>
        <a:p>
          <a:endParaRPr lang="en-US"/>
        </a:p>
      </dgm:t>
    </dgm:pt>
    <dgm:pt modelId="{3EC3167D-671A-4863-90D1-DB121ABA7FC5}" type="sibTrans" cxnId="{C8948F2B-B646-4AC4-B87E-C711DCA1AA46}">
      <dgm:prSet/>
      <dgm:spPr/>
      <dgm:t>
        <a:bodyPr/>
        <a:lstStyle/>
        <a:p>
          <a:endParaRPr lang="en-US"/>
        </a:p>
      </dgm:t>
    </dgm:pt>
    <dgm:pt modelId="{7B542F83-6CED-4700-9961-08C6CD19CF83}">
      <dgm:prSet custT="1"/>
      <dgm:spPr/>
      <dgm:t>
        <a:bodyPr/>
        <a:lstStyle/>
        <a:p>
          <a:r>
            <a:rPr lang="en-US" sz="1400" baseline="0" dirty="0"/>
            <a:t>Effectively isolate the read-only workload from the main read-write workload and doubles the compute capacity of the database or elastic pool at no additional charge.</a:t>
          </a:r>
          <a:endParaRPr lang="en-US" sz="1400" dirty="0"/>
        </a:p>
      </dgm:t>
    </dgm:pt>
    <dgm:pt modelId="{9370604B-9E0D-46A7-9E6D-08D068975603}" type="parTrans" cxnId="{A074450F-0F6A-4EFF-9285-0083838FC028}">
      <dgm:prSet/>
      <dgm:spPr/>
      <dgm:t>
        <a:bodyPr/>
        <a:lstStyle/>
        <a:p>
          <a:endParaRPr lang="en-US"/>
        </a:p>
      </dgm:t>
    </dgm:pt>
    <dgm:pt modelId="{148B714B-B1A2-4DA1-958F-89740FE1F58E}" type="sibTrans" cxnId="{A074450F-0F6A-4EFF-9285-0083838FC028}">
      <dgm:prSet/>
      <dgm:spPr/>
      <dgm:t>
        <a:bodyPr/>
        <a:lstStyle/>
        <a:p>
          <a:endParaRPr lang="en-US"/>
        </a:p>
      </dgm:t>
    </dgm:pt>
    <dgm:pt modelId="{3F8647A3-97C4-4243-9575-A2EF1A97125D}">
      <dgm:prSet custT="1"/>
      <dgm:spPr/>
      <dgm:t>
        <a:bodyPr/>
        <a:lstStyle/>
        <a:p>
          <a:r>
            <a:rPr lang="en-US" sz="1400" baseline="0"/>
            <a:t>This is ideal to scale-out for complex analytical workloads without affecting the primary OLTP workload.</a:t>
          </a:r>
          <a:endParaRPr lang="en-US" sz="1400"/>
        </a:p>
      </dgm:t>
    </dgm:pt>
    <dgm:pt modelId="{FDA2CBA7-E507-4226-B016-1E454F5E9041}" type="parTrans" cxnId="{28B03595-344C-4B07-B5A1-D9C2081BEAF8}">
      <dgm:prSet/>
      <dgm:spPr/>
      <dgm:t>
        <a:bodyPr/>
        <a:lstStyle/>
        <a:p>
          <a:endParaRPr lang="en-US"/>
        </a:p>
      </dgm:t>
    </dgm:pt>
    <dgm:pt modelId="{C40153EA-B673-49CD-8930-A920D84655D8}" type="sibTrans" cxnId="{28B03595-344C-4B07-B5A1-D9C2081BEAF8}">
      <dgm:prSet/>
      <dgm:spPr/>
      <dgm:t>
        <a:bodyPr/>
        <a:lstStyle/>
        <a:p>
          <a:endParaRPr lang="en-US"/>
        </a:p>
      </dgm:t>
    </dgm:pt>
    <dgm:pt modelId="{59328557-3CD3-4475-A430-6CB919E1C6C4}" type="pres">
      <dgm:prSet presAssocID="{72F055CC-86C6-4B6E-8345-5E42B5CF4A52}" presName="linear" presStyleCnt="0">
        <dgm:presLayoutVars>
          <dgm:animLvl val="lvl"/>
          <dgm:resizeHandles val="exact"/>
        </dgm:presLayoutVars>
      </dgm:prSet>
      <dgm:spPr/>
    </dgm:pt>
    <dgm:pt modelId="{C5DD544B-8616-468A-9C4B-F4C398285E9D}" type="pres">
      <dgm:prSet presAssocID="{7B1B6545-ADF1-4B2A-8C4A-95768291DD86}" presName="parentText" presStyleLbl="node1" presStyleIdx="0" presStyleCnt="4">
        <dgm:presLayoutVars>
          <dgm:chMax val="0"/>
          <dgm:bulletEnabled val="1"/>
        </dgm:presLayoutVars>
      </dgm:prSet>
      <dgm:spPr/>
    </dgm:pt>
    <dgm:pt modelId="{B1B68EAA-B4CC-4E2C-991F-95B9F0DD85BF}" type="pres">
      <dgm:prSet presAssocID="{8D5420C3-F90C-41C1-8368-37DF1E2B0ABA}" presName="spacer" presStyleCnt="0"/>
      <dgm:spPr/>
    </dgm:pt>
    <dgm:pt modelId="{55F58ECE-E330-4A66-8ACD-CC97126ECAFB}" type="pres">
      <dgm:prSet presAssocID="{22F90170-BBCD-4E15-A0A2-C116DB9C4CFC}" presName="parentText" presStyleLbl="node1" presStyleIdx="1" presStyleCnt="4">
        <dgm:presLayoutVars>
          <dgm:chMax val="0"/>
          <dgm:bulletEnabled val="1"/>
        </dgm:presLayoutVars>
      </dgm:prSet>
      <dgm:spPr/>
    </dgm:pt>
    <dgm:pt modelId="{6F3C5689-8279-4D04-A2E4-88F09AA868B7}" type="pres">
      <dgm:prSet presAssocID="{3EC3167D-671A-4863-90D1-DB121ABA7FC5}" presName="spacer" presStyleCnt="0"/>
      <dgm:spPr/>
    </dgm:pt>
    <dgm:pt modelId="{D3F384AA-85F2-4B08-B574-A483E80232AD}" type="pres">
      <dgm:prSet presAssocID="{7B542F83-6CED-4700-9961-08C6CD19CF83}" presName="parentText" presStyleLbl="node1" presStyleIdx="2" presStyleCnt="4">
        <dgm:presLayoutVars>
          <dgm:chMax val="0"/>
          <dgm:bulletEnabled val="1"/>
        </dgm:presLayoutVars>
      </dgm:prSet>
      <dgm:spPr/>
    </dgm:pt>
    <dgm:pt modelId="{7623D323-05E2-43D1-B6B3-C8A848D12A0D}" type="pres">
      <dgm:prSet presAssocID="{148B714B-B1A2-4DA1-958F-89740FE1F58E}" presName="spacer" presStyleCnt="0"/>
      <dgm:spPr/>
    </dgm:pt>
    <dgm:pt modelId="{24E8AE9F-B2AC-4814-AFA5-0F6C69A7DFC0}" type="pres">
      <dgm:prSet presAssocID="{3F8647A3-97C4-4243-9575-A2EF1A97125D}" presName="parentText" presStyleLbl="node1" presStyleIdx="3" presStyleCnt="4">
        <dgm:presLayoutVars>
          <dgm:chMax val="0"/>
          <dgm:bulletEnabled val="1"/>
        </dgm:presLayoutVars>
      </dgm:prSet>
      <dgm:spPr/>
    </dgm:pt>
  </dgm:ptLst>
  <dgm:cxnLst>
    <dgm:cxn modelId="{A074450F-0F6A-4EFF-9285-0083838FC028}" srcId="{72F055CC-86C6-4B6E-8345-5E42B5CF4A52}" destId="{7B542F83-6CED-4700-9961-08C6CD19CF83}" srcOrd="2" destOrd="0" parTransId="{9370604B-9E0D-46A7-9E6D-08D068975603}" sibTransId="{148B714B-B1A2-4DA1-958F-89740FE1F58E}"/>
    <dgm:cxn modelId="{A6781619-D719-4BC6-AD55-ED4E4C413968}" type="presOf" srcId="{72F055CC-86C6-4B6E-8345-5E42B5CF4A52}" destId="{59328557-3CD3-4475-A430-6CB919E1C6C4}" srcOrd="0" destOrd="0" presId="urn:microsoft.com/office/officeart/2005/8/layout/vList2"/>
    <dgm:cxn modelId="{C8948F2B-B646-4AC4-B87E-C711DCA1AA46}" srcId="{72F055CC-86C6-4B6E-8345-5E42B5CF4A52}" destId="{22F90170-BBCD-4E15-A0A2-C116DB9C4CFC}" srcOrd="1" destOrd="0" parTransId="{C4072278-90D8-4661-A6C6-CD9892FE8B64}" sibTransId="{3EC3167D-671A-4863-90D1-DB121ABA7FC5}"/>
    <dgm:cxn modelId="{669FEB60-1980-499D-B1AD-700905A1C051}" type="presOf" srcId="{7B542F83-6CED-4700-9961-08C6CD19CF83}" destId="{D3F384AA-85F2-4B08-B574-A483E80232AD}" srcOrd="0" destOrd="0" presId="urn:microsoft.com/office/officeart/2005/8/layout/vList2"/>
    <dgm:cxn modelId="{07C8AD5A-10EE-4203-A8E2-FC25E83DA552}" type="presOf" srcId="{7B1B6545-ADF1-4B2A-8C4A-95768291DD86}" destId="{C5DD544B-8616-468A-9C4B-F4C398285E9D}" srcOrd="0" destOrd="0" presId="urn:microsoft.com/office/officeart/2005/8/layout/vList2"/>
    <dgm:cxn modelId="{7928B689-267B-4C12-BC75-2A2AA4D17753}" type="presOf" srcId="{3F8647A3-97C4-4243-9575-A2EF1A97125D}" destId="{24E8AE9F-B2AC-4814-AFA5-0F6C69A7DFC0}" srcOrd="0" destOrd="0" presId="urn:microsoft.com/office/officeart/2005/8/layout/vList2"/>
    <dgm:cxn modelId="{28B03595-344C-4B07-B5A1-D9C2081BEAF8}" srcId="{72F055CC-86C6-4B6E-8345-5E42B5CF4A52}" destId="{3F8647A3-97C4-4243-9575-A2EF1A97125D}" srcOrd="3" destOrd="0" parTransId="{FDA2CBA7-E507-4226-B016-1E454F5E9041}" sibTransId="{C40153EA-B673-49CD-8930-A920D84655D8}"/>
    <dgm:cxn modelId="{30EC86C0-F9F6-4922-8EA0-B9DD25E36FA1}" type="presOf" srcId="{22F90170-BBCD-4E15-A0A2-C116DB9C4CFC}" destId="{55F58ECE-E330-4A66-8ACD-CC97126ECAFB}" srcOrd="0" destOrd="0" presId="urn:microsoft.com/office/officeart/2005/8/layout/vList2"/>
    <dgm:cxn modelId="{E198EAEB-EEB3-4D9A-ADE1-0A3D0A843369}" srcId="{72F055CC-86C6-4B6E-8345-5E42B5CF4A52}" destId="{7B1B6545-ADF1-4B2A-8C4A-95768291DD86}" srcOrd="0" destOrd="0" parTransId="{BA5D5531-9623-4F24-ABAD-20B8669ED45F}" sibTransId="{8D5420C3-F90C-41C1-8368-37DF1E2B0ABA}"/>
    <dgm:cxn modelId="{A4E20075-4A51-4F91-B0EB-7595A07935C2}" type="presParOf" srcId="{59328557-3CD3-4475-A430-6CB919E1C6C4}" destId="{C5DD544B-8616-468A-9C4B-F4C398285E9D}" srcOrd="0" destOrd="0" presId="urn:microsoft.com/office/officeart/2005/8/layout/vList2"/>
    <dgm:cxn modelId="{50598480-EB34-45BF-B4C8-6DA98C13186B}" type="presParOf" srcId="{59328557-3CD3-4475-A430-6CB919E1C6C4}" destId="{B1B68EAA-B4CC-4E2C-991F-95B9F0DD85BF}" srcOrd="1" destOrd="0" presId="urn:microsoft.com/office/officeart/2005/8/layout/vList2"/>
    <dgm:cxn modelId="{4D892DAD-C91C-4027-B12D-80052FBC3235}" type="presParOf" srcId="{59328557-3CD3-4475-A430-6CB919E1C6C4}" destId="{55F58ECE-E330-4A66-8ACD-CC97126ECAFB}" srcOrd="2" destOrd="0" presId="urn:microsoft.com/office/officeart/2005/8/layout/vList2"/>
    <dgm:cxn modelId="{2DB4608C-C2AC-4D87-A6BC-9ACA2CA3C843}" type="presParOf" srcId="{59328557-3CD3-4475-A430-6CB919E1C6C4}" destId="{6F3C5689-8279-4D04-A2E4-88F09AA868B7}" srcOrd="3" destOrd="0" presId="urn:microsoft.com/office/officeart/2005/8/layout/vList2"/>
    <dgm:cxn modelId="{A7E57EF5-4F6D-46CB-A432-93F0F83C7500}" type="presParOf" srcId="{59328557-3CD3-4475-A430-6CB919E1C6C4}" destId="{D3F384AA-85F2-4B08-B574-A483E80232AD}" srcOrd="4" destOrd="0" presId="urn:microsoft.com/office/officeart/2005/8/layout/vList2"/>
    <dgm:cxn modelId="{20C3C86B-1C33-4FBE-87A8-39D35EC3B3CD}" type="presParOf" srcId="{59328557-3CD3-4475-A430-6CB919E1C6C4}" destId="{7623D323-05E2-43D1-B6B3-C8A848D12A0D}" srcOrd="5" destOrd="0" presId="urn:microsoft.com/office/officeart/2005/8/layout/vList2"/>
    <dgm:cxn modelId="{0F15EFE1-2F8C-4617-AA1F-C7E73D4A32FE}" type="presParOf" srcId="{59328557-3CD3-4475-A430-6CB919E1C6C4}" destId="{24E8AE9F-B2AC-4814-AFA5-0F6C69A7DFC0}" srcOrd="6"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70DAD28C-AB9F-47DA-81F6-35E7CF9DCDAA}" type="doc">
      <dgm:prSet loTypeId="urn:microsoft.com/office/officeart/2005/8/layout/hList1" loCatId="list" qsTypeId="urn:microsoft.com/office/officeart/2005/8/quickstyle/simple1" qsCatId="simple" csTypeId="urn:microsoft.com/office/officeart/2005/8/colors/colorful1" csCatId="colorful"/>
      <dgm:spPr/>
      <dgm:t>
        <a:bodyPr/>
        <a:lstStyle/>
        <a:p>
          <a:endParaRPr lang="en-US"/>
        </a:p>
      </dgm:t>
    </dgm:pt>
    <dgm:pt modelId="{CD02C44B-C19C-49B1-A35E-7CA053239246}">
      <dgm:prSet/>
      <dgm:spPr/>
      <dgm:t>
        <a:bodyPr/>
        <a:lstStyle/>
        <a:p>
          <a:r>
            <a:rPr lang="en-US" baseline="0" dirty="0"/>
            <a:t>Default Configuration</a:t>
          </a:r>
          <a:endParaRPr lang="en-US" dirty="0"/>
        </a:p>
      </dgm:t>
    </dgm:pt>
    <dgm:pt modelId="{4AFD7C1D-4243-4B3C-B4E2-B25AE5DF7BAE}" type="parTrans" cxnId="{581FAA30-1D12-43D6-9D8F-3CCD3278F059}">
      <dgm:prSet/>
      <dgm:spPr/>
      <dgm:t>
        <a:bodyPr/>
        <a:lstStyle/>
        <a:p>
          <a:endParaRPr lang="en-US"/>
        </a:p>
      </dgm:t>
    </dgm:pt>
    <dgm:pt modelId="{DD8ACBED-66C2-4927-9FAB-D9D970CCA197}" type="sibTrans" cxnId="{581FAA30-1D12-43D6-9D8F-3CCD3278F059}">
      <dgm:prSet/>
      <dgm:spPr/>
      <dgm:t>
        <a:bodyPr/>
        <a:lstStyle/>
        <a:p>
          <a:endParaRPr lang="en-US"/>
        </a:p>
      </dgm:t>
    </dgm:pt>
    <dgm:pt modelId="{123BD73A-C73C-4F6D-8EAA-1CE502CD44CD}">
      <dgm:prSet/>
      <dgm:spPr/>
      <dgm:t>
        <a:bodyPr/>
        <a:lstStyle/>
        <a:p>
          <a:r>
            <a:rPr lang="en-US" b="1" baseline="0" dirty="0"/>
            <a:t>Enabled</a:t>
          </a:r>
          <a:r>
            <a:rPr lang="en-US" baseline="0" dirty="0"/>
            <a:t> in </a:t>
          </a:r>
          <a:r>
            <a:rPr lang="en-US" b="1" baseline="0" dirty="0"/>
            <a:t>Managed Instance </a:t>
          </a:r>
          <a:r>
            <a:rPr lang="en-US" baseline="0" dirty="0"/>
            <a:t>Business Critical tier.</a:t>
          </a:r>
          <a:endParaRPr lang="en-US" dirty="0"/>
        </a:p>
      </dgm:t>
    </dgm:pt>
    <dgm:pt modelId="{1C22E6F7-891F-4EE2-8C65-D567D269BEDA}" type="parTrans" cxnId="{06D38D97-AD1C-46E8-816A-DCA931A366C5}">
      <dgm:prSet/>
      <dgm:spPr/>
      <dgm:t>
        <a:bodyPr/>
        <a:lstStyle/>
        <a:p>
          <a:endParaRPr lang="en-US"/>
        </a:p>
      </dgm:t>
    </dgm:pt>
    <dgm:pt modelId="{2845D4D1-7EDE-4DB2-953E-F9064286A275}" type="sibTrans" cxnId="{06D38D97-AD1C-46E8-816A-DCA931A366C5}">
      <dgm:prSet/>
      <dgm:spPr/>
      <dgm:t>
        <a:bodyPr/>
        <a:lstStyle/>
        <a:p>
          <a:endParaRPr lang="en-US"/>
        </a:p>
      </dgm:t>
    </dgm:pt>
    <dgm:pt modelId="{C61D0572-A870-4124-A627-1000C7A7F784}">
      <dgm:prSet/>
      <dgm:spPr/>
      <dgm:t>
        <a:bodyPr/>
        <a:lstStyle/>
        <a:p>
          <a:r>
            <a:rPr lang="en-US" b="1" baseline="0" dirty="0"/>
            <a:t>Disabled</a:t>
          </a:r>
          <a:r>
            <a:rPr lang="en-US" baseline="0" dirty="0"/>
            <a:t> in </a:t>
          </a:r>
          <a:r>
            <a:rPr lang="en-US" b="1" baseline="0" dirty="0"/>
            <a:t>database</a:t>
          </a:r>
          <a:r>
            <a:rPr lang="en-US" baseline="0" dirty="0"/>
            <a:t> placed on </a:t>
          </a:r>
          <a:r>
            <a:rPr lang="en-US" b="1" baseline="0" dirty="0"/>
            <a:t>SQL Database server </a:t>
          </a:r>
          <a:r>
            <a:rPr lang="en-US" baseline="0" dirty="0"/>
            <a:t>Premium and Business Critical tiers.</a:t>
          </a:r>
          <a:endParaRPr lang="en-US" dirty="0"/>
        </a:p>
      </dgm:t>
    </dgm:pt>
    <dgm:pt modelId="{F8DA973D-4685-4C33-9DE5-5FC327FB3ACE}" type="parTrans" cxnId="{756FD34B-3770-4951-85E7-8D7713317152}">
      <dgm:prSet/>
      <dgm:spPr/>
      <dgm:t>
        <a:bodyPr/>
        <a:lstStyle/>
        <a:p>
          <a:endParaRPr lang="en-US"/>
        </a:p>
      </dgm:t>
    </dgm:pt>
    <dgm:pt modelId="{C1E8C4D3-46B3-4100-A6C4-94013AA5B411}" type="sibTrans" cxnId="{756FD34B-3770-4951-85E7-8D7713317152}">
      <dgm:prSet/>
      <dgm:spPr/>
      <dgm:t>
        <a:bodyPr/>
        <a:lstStyle/>
        <a:p>
          <a:endParaRPr lang="en-US"/>
        </a:p>
      </dgm:t>
    </dgm:pt>
    <dgm:pt modelId="{F4D7F447-E7BC-48B2-9118-667426D748E6}">
      <dgm:prSet/>
      <dgm:spPr/>
      <dgm:t>
        <a:bodyPr/>
        <a:lstStyle/>
        <a:p>
          <a:r>
            <a:rPr lang="en-US" baseline="0"/>
            <a:t>Setup Methods</a:t>
          </a:r>
          <a:endParaRPr lang="en-US"/>
        </a:p>
      </dgm:t>
    </dgm:pt>
    <dgm:pt modelId="{F295C7FC-C31F-4F77-88DE-1E9476221539}" type="parTrans" cxnId="{5E2034C9-B17C-4809-AD63-F351ADA30513}">
      <dgm:prSet/>
      <dgm:spPr/>
      <dgm:t>
        <a:bodyPr/>
        <a:lstStyle/>
        <a:p>
          <a:endParaRPr lang="en-US"/>
        </a:p>
      </dgm:t>
    </dgm:pt>
    <dgm:pt modelId="{1DE01AF8-FD99-4991-9958-8762B8CEB7B1}" type="sibTrans" cxnId="{5E2034C9-B17C-4809-AD63-F351ADA30513}">
      <dgm:prSet/>
      <dgm:spPr/>
      <dgm:t>
        <a:bodyPr/>
        <a:lstStyle/>
        <a:p>
          <a:endParaRPr lang="en-US"/>
        </a:p>
      </dgm:t>
    </dgm:pt>
    <dgm:pt modelId="{8E116F45-3C71-42B6-BF17-4A480A704E85}">
      <dgm:prSet/>
      <dgm:spPr/>
      <dgm:t>
        <a:bodyPr/>
        <a:lstStyle/>
        <a:p>
          <a:r>
            <a:rPr lang="en-US" b="1" baseline="0" dirty="0"/>
            <a:t>Azure Portal</a:t>
          </a:r>
          <a:endParaRPr lang="en-US" b="1" dirty="0"/>
        </a:p>
      </dgm:t>
    </dgm:pt>
    <dgm:pt modelId="{BED925E3-2DA1-4A30-8C01-A8AE64A1DB26}" type="parTrans" cxnId="{A7562A05-6576-4534-9C0D-A8AE705AA48F}">
      <dgm:prSet/>
      <dgm:spPr/>
      <dgm:t>
        <a:bodyPr/>
        <a:lstStyle/>
        <a:p>
          <a:endParaRPr lang="en-US"/>
        </a:p>
      </dgm:t>
    </dgm:pt>
    <dgm:pt modelId="{114178CC-E314-41E2-9FC4-F46553700216}" type="sibTrans" cxnId="{A7562A05-6576-4534-9C0D-A8AE705AA48F}">
      <dgm:prSet/>
      <dgm:spPr/>
      <dgm:t>
        <a:bodyPr/>
        <a:lstStyle/>
        <a:p>
          <a:endParaRPr lang="en-US"/>
        </a:p>
      </dgm:t>
    </dgm:pt>
    <dgm:pt modelId="{29F255CB-A35E-4815-9CC3-47416B445141}">
      <dgm:prSet/>
      <dgm:spPr/>
      <dgm:t>
        <a:bodyPr/>
        <a:lstStyle/>
        <a:p>
          <a:r>
            <a:rPr lang="en-US" baseline="0" dirty="0"/>
            <a:t>Settings &gt; Configure &gt; Premium/Business Critical tier &gt; Read scale-out.</a:t>
          </a:r>
          <a:endParaRPr lang="en-US" dirty="0"/>
        </a:p>
      </dgm:t>
    </dgm:pt>
    <dgm:pt modelId="{DC741E20-4630-498B-9B74-0D3D93F41FE2}" type="parTrans" cxnId="{5540FDB8-861F-43C6-ABD5-E67624843041}">
      <dgm:prSet/>
      <dgm:spPr/>
      <dgm:t>
        <a:bodyPr/>
        <a:lstStyle/>
        <a:p>
          <a:endParaRPr lang="en-US"/>
        </a:p>
      </dgm:t>
    </dgm:pt>
    <dgm:pt modelId="{67BAF865-54C9-42EA-A40A-7C28C3C2A29C}" type="sibTrans" cxnId="{5540FDB8-861F-43C6-ABD5-E67624843041}">
      <dgm:prSet/>
      <dgm:spPr/>
      <dgm:t>
        <a:bodyPr/>
        <a:lstStyle/>
        <a:p>
          <a:endParaRPr lang="en-US"/>
        </a:p>
      </dgm:t>
    </dgm:pt>
    <dgm:pt modelId="{885A6CA8-3EE9-491F-8568-08A45F127B55}">
      <dgm:prSet/>
      <dgm:spPr/>
      <dgm:t>
        <a:bodyPr/>
        <a:lstStyle/>
        <a:p>
          <a:r>
            <a:rPr lang="en-US" b="1" baseline="0" dirty="0"/>
            <a:t>PowerShell</a:t>
          </a:r>
          <a:endParaRPr lang="en-US" b="1" dirty="0"/>
        </a:p>
      </dgm:t>
    </dgm:pt>
    <dgm:pt modelId="{76D7C96B-5A7D-4CE0-9677-BA8240E03699}" type="parTrans" cxnId="{99E37A72-EC58-4D6D-9DD8-5A5BBFD360E7}">
      <dgm:prSet/>
      <dgm:spPr/>
      <dgm:t>
        <a:bodyPr/>
        <a:lstStyle/>
        <a:p>
          <a:endParaRPr lang="en-US"/>
        </a:p>
      </dgm:t>
    </dgm:pt>
    <dgm:pt modelId="{465753F8-87DF-4198-8BD5-E5F66DA3C720}" type="sibTrans" cxnId="{99E37A72-EC58-4D6D-9DD8-5A5BBFD360E7}">
      <dgm:prSet/>
      <dgm:spPr/>
      <dgm:t>
        <a:bodyPr/>
        <a:lstStyle/>
        <a:p>
          <a:endParaRPr lang="en-US"/>
        </a:p>
      </dgm:t>
    </dgm:pt>
    <dgm:pt modelId="{3527AAF5-7628-45DE-8A6D-8ACC9536F40A}">
      <dgm:prSet/>
      <dgm:spPr/>
      <dgm:t>
        <a:bodyPr/>
        <a:lstStyle/>
        <a:p>
          <a:r>
            <a:rPr lang="en-US" baseline="0" dirty="0"/>
            <a:t>Set-</a:t>
          </a:r>
          <a:r>
            <a:rPr lang="en-US" baseline="0" dirty="0" err="1"/>
            <a:t>AzSqlDatabase</a:t>
          </a:r>
          <a:r>
            <a:rPr lang="en-US" baseline="0" dirty="0"/>
            <a:t> or</a:t>
          </a:r>
          <a:endParaRPr lang="en-US" dirty="0"/>
        </a:p>
      </dgm:t>
    </dgm:pt>
    <dgm:pt modelId="{F58F1D7F-AB23-44C6-88FC-A0FEAAB2E5F0}" type="parTrans" cxnId="{27387220-06EA-4298-97F5-EE67850B3523}">
      <dgm:prSet/>
      <dgm:spPr/>
      <dgm:t>
        <a:bodyPr/>
        <a:lstStyle/>
        <a:p>
          <a:endParaRPr lang="en-US"/>
        </a:p>
      </dgm:t>
    </dgm:pt>
    <dgm:pt modelId="{AEEDAAA7-B3B3-4D9E-A4ED-C3F486A53CB6}" type="sibTrans" cxnId="{27387220-06EA-4298-97F5-EE67850B3523}">
      <dgm:prSet/>
      <dgm:spPr/>
      <dgm:t>
        <a:bodyPr/>
        <a:lstStyle/>
        <a:p>
          <a:endParaRPr lang="en-US"/>
        </a:p>
      </dgm:t>
    </dgm:pt>
    <dgm:pt modelId="{7005C937-37C0-4201-8084-81D425120447}">
      <dgm:prSet/>
      <dgm:spPr/>
      <dgm:t>
        <a:bodyPr/>
        <a:lstStyle/>
        <a:p>
          <a:r>
            <a:rPr lang="en-US" baseline="0"/>
            <a:t>New-AzSqlDatabase cmdlets.</a:t>
          </a:r>
          <a:endParaRPr lang="en-US"/>
        </a:p>
      </dgm:t>
    </dgm:pt>
    <dgm:pt modelId="{851C345F-79AA-41E9-8D33-235318EEEBAD}" type="parTrans" cxnId="{AB99854E-107F-4EB6-A47C-A06C09F5904E}">
      <dgm:prSet/>
      <dgm:spPr/>
      <dgm:t>
        <a:bodyPr/>
        <a:lstStyle/>
        <a:p>
          <a:endParaRPr lang="en-US"/>
        </a:p>
      </dgm:t>
    </dgm:pt>
    <dgm:pt modelId="{21166A93-7375-4DBB-ACEC-41B2BB9F4327}" type="sibTrans" cxnId="{AB99854E-107F-4EB6-A47C-A06C09F5904E}">
      <dgm:prSet/>
      <dgm:spPr/>
      <dgm:t>
        <a:bodyPr/>
        <a:lstStyle/>
        <a:p>
          <a:endParaRPr lang="en-US"/>
        </a:p>
      </dgm:t>
    </dgm:pt>
    <dgm:pt modelId="{83346430-C5B8-4123-BA9E-BE8CEA86BB38}">
      <dgm:prSet/>
      <dgm:spPr/>
      <dgm:t>
        <a:bodyPr/>
        <a:lstStyle/>
        <a:p>
          <a:r>
            <a:rPr lang="en-US" b="1" baseline="0" dirty="0"/>
            <a:t>Azure Resource Manager REST API</a:t>
          </a:r>
          <a:endParaRPr lang="en-US" b="1" dirty="0"/>
        </a:p>
      </dgm:t>
    </dgm:pt>
    <dgm:pt modelId="{55BEEC76-30A8-448E-AB6B-3B51593D0D01}" type="parTrans" cxnId="{3B204214-DDA1-4A5B-9A9B-5B01CEEF66E0}">
      <dgm:prSet/>
      <dgm:spPr/>
      <dgm:t>
        <a:bodyPr/>
        <a:lstStyle/>
        <a:p>
          <a:endParaRPr lang="en-US"/>
        </a:p>
      </dgm:t>
    </dgm:pt>
    <dgm:pt modelId="{66D280C2-7680-49DB-8310-609C86E77081}" type="sibTrans" cxnId="{3B204214-DDA1-4A5B-9A9B-5B01CEEF66E0}">
      <dgm:prSet/>
      <dgm:spPr/>
      <dgm:t>
        <a:bodyPr/>
        <a:lstStyle/>
        <a:p>
          <a:endParaRPr lang="en-US"/>
        </a:p>
      </dgm:t>
    </dgm:pt>
    <dgm:pt modelId="{BA37A40F-EA90-4A24-A187-F6E106971A0A}">
      <dgm:prSet/>
      <dgm:spPr/>
      <dgm:t>
        <a:bodyPr/>
        <a:lstStyle/>
        <a:p>
          <a:r>
            <a:rPr lang="en-US" baseline="0" dirty="0"/>
            <a:t>Create or</a:t>
          </a:r>
          <a:endParaRPr lang="en-US" dirty="0"/>
        </a:p>
      </dgm:t>
    </dgm:pt>
    <dgm:pt modelId="{1E1AABF1-37F2-4FF4-946B-CD5E2B25255F}" type="parTrans" cxnId="{FE7CD72E-C237-4E19-8918-74A6EFC61F88}">
      <dgm:prSet/>
      <dgm:spPr/>
      <dgm:t>
        <a:bodyPr/>
        <a:lstStyle/>
        <a:p>
          <a:endParaRPr lang="en-US"/>
        </a:p>
      </dgm:t>
    </dgm:pt>
    <dgm:pt modelId="{BC18F943-59DB-4EC9-92D6-A8719DDDAC76}" type="sibTrans" cxnId="{FE7CD72E-C237-4E19-8918-74A6EFC61F88}">
      <dgm:prSet/>
      <dgm:spPr/>
      <dgm:t>
        <a:bodyPr/>
        <a:lstStyle/>
        <a:p>
          <a:endParaRPr lang="en-US"/>
        </a:p>
      </dgm:t>
    </dgm:pt>
    <dgm:pt modelId="{D7543666-B57E-4DCB-9FC6-0FF73D511A0F}">
      <dgm:prSet/>
      <dgm:spPr/>
      <dgm:t>
        <a:bodyPr/>
        <a:lstStyle/>
        <a:p>
          <a:r>
            <a:rPr lang="en-US" baseline="0"/>
            <a:t>Update method</a:t>
          </a:r>
          <a:endParaRPr lang="en-US"/>
        </a:p>
      </dgm:t>
    </dgm:pt>
    <dgm:pt modelId="{B352C380-18F7-4BE5-B4E4-3AAB7EC4F3E7}" type="parTrans" cxnId="{0F82D974-668E-4D4E-94A5-BA9ECEA672F1}">
      <dgm:prSet/>
      <dgm:spPr/>
      <dgm:t>
        <a:bodyPr/>
        <a:lstStyle/>
        <a:p>
          <a:endParaRPr lang="en-US"/>
        </a:p>
      </dgm:t>
    </dgm:pt>
    <dgm:pt modelId="{6512C8A4-34BB-4212-845D-C0E24539B48D}" type="sibTrans" cxnId="{0F82D974-668E-4D4E-94A5-BA9ECEA672F1}">
      <dgm:prSet/>
      <dgm:spPr/>
      <dgm:t>
        <a:bodyPr/>
        <a:lstStyle/>
        <a:p>
          <a:endParaRPr lang="en-US"/>
        </a:p>
      </dgm:t>
    </dgm:pt>
    <dgm:pt modelId="{DEC01182-A53D-4E8F-A3E3-F47836E31A93}">
      <dgm:prSet/>
      <dgm:spPr/>
      <dgm:t>
        <a:bodyPr/>
        <a:lstStyle/>
        <a:p>
          <a:r>
            <a:rPr lang="en-US" baseline="0"/>
            <a:t>Connection</a:t>
          </a:r>
          <a:endParaRPr lang="en-US"/>
        </a:p>
      </dgm:t>
    </dgm:pt>
    <dgm:pt modelId="{E1A42516-1226-4DFF-8F64-ABC2CF513B7E}" type="parTrans" cxnId="{45B20BF3-B171-4750-BD44-992A9520F289}">
      <dgm:prSet/>
      <dgm:spPr/>
      <dgm:t>
        <a:bodyPr/>
        <a:lstStyle/>
        <a:p>
          <a:endParaRPr lang="en-US"/>
        </a:p>
      </dgm:t>
    </dgm:pt>
    <dgm:pt modelId="{C66C764D-F309-4EF9-BDCE-4DEBAF90B619}" type="sibTrans" cxnId="{45B20BF3-B171-4750-BD44-992A9520F289}">
      <dgm:prSet/>
      <dgm:spPr/>
      <dgm:t>
        <a:bodyPr/>
        <a:lstStyle/>
        <a:p>
          <a:endParaRPr lang="en-US"/>
        </a:p>
      </dgm:t>
    </dgm:pt>
    <dgm:pt modelId="{D93ACB9B-172E-4488-81A2-66A36600600E}">
      <dgm:prSet/>
      <dgm:spPr/>
      <dgm:t>
        <a:bodyPr/>
        <a:lstStyle/>
        <a:p>
          <a:r>
            <a:rPr lang="en-US" baseline="0" dirty="0"/>
            <a:t>Applications will be directed to either the read-write replica or to a read-only replica according to the </a:t>
          </a:r>
          <a:r>
            <a:rPr lang="en-US" b="1" baseline="0" dirty="0" err="1"/>
            <a:t>ApplicationIntent</a:t>
          </a:r>
          <a:r>
            <a:rPr lang="en-US" b="1" baseline="0" dirty="0"/>
            <a:t> property </a:t>
          </a:r>
          <a:r>
            <a:rPr lang="en-US" baseline="0" dirty="0"/>
            <a:t>configured in the application’s </a:t>
          </a:r>
          <a:r>
            <a:rPr lang="en-US" b="1" baseline="0" dirty="0"/>
            <a:t>connection</a:t>
          </a:r>
          <a:r>
            <a:rPr lang="en-US" baseline="0" dirty="0"/>
            <a:t> </a:t>
          </a:r>
          <a:r>
            <a:rPr lang="en-US" b="1" baseline="0" dirty="0"/>
            <a:t>string</a:t>
          </a:r>
          <a:r>
            <a:rPr lang="en-US" baseline="0" dirty="0"/>
            <a:t>.</a:t>
          </a:r>
          <a:endParaRPr lang="en-US" dirty="0"/>
        </a:p>
      </dgm:t>
    </dgm:pt>
    <dgm:pt modelId="{FC7CC4E0-38E2-47AE-92FA-B5FADD3C5CA7}" type="parTrans" cxnId="{AC68FFE0-9CFB-4A2C-BC05-D50A0FAD399F}">
      <dgm:prSet/>
      <dgm:spPr/>
      <dgm:t>
        <a:bodyPr/>
        <a:lstStyle/>
        <a:p>
          <a:endParaRPr lang="en-US"/>
        </a:p>
      </dgm:t>
    </dgm:pt>
    <dgm:pt modelId="{E4C09D1E-C118-4D84-B1C5-24C07485A4AA}" type="sibTrans" cxnId="{AC68FFE0-9CFB-4A2C-BC05-D50A0FAD399F}">
      <dgm:prSet/>
      <dgm:spPr/>
      <dgm:t>
        <a:bodyPr/>
        <a:lstStyle/>
        <a:p>
          <a:endParaRPr lang="en-US"/>
        </a:p>
      </dgm:t>
    </dgm:pt>
    <dgm:pt modelId="{4CEB4A37-45F9-46EE-BBEB-E68F6846C4AF}">
      <dgm:prSet/>
      <dgm:spPr/>
      <dgm:t>
        <a:bodyPr/>
        <a:lstStyle/>
        <a:p>
          <a:r>
            <a:rPr lang="en-US" baseline="0" dirty="0"/>
            <a:t>Use </a:t>
          </a:r>
          <a:r>
            <a:rPr lang="en-US" b="1" baseline="0" dirty="0" err="1"/>
            <a:t>ApplicationIntent</a:t>
          </a:r>
          <a:r>
            <a:rPr lang="en-US" b="1" baseline="0" dirty="0"/>
            <a:t>=</a:t>
          </a:r>
          <a:r>
            <a:rPr lang="en-US" b="1" baseline="0" dirty="0" err="1"/>
            <a:t>ReadOnly</a:t>
          </a:r>
          <a:r>
            <a:rPr lang="en-US" baseline="0" dirty="0"/>
            <a:t>; to connect to the read-only replica.	</a:t>
          </a:r>
          <a:endParaRPr lang="en-US" dirty="0"/>
        </a:p>
      </dgm:t>
    </dgm:pt>
    <dgm:pt modelId="{3E81F24C-588E-4A26-85BD-E07389C34135}" type="parTrans" cxnId="{B3AE23F3-D106-4003-8D3D-BD3CB475B3D7}">
      <dgm:prSet/>
      <dgm:spPr/>
      <dgm:t>
        <a:bodyPr/>
        <a:lstStyle/>
        <a:p>
          <a:endParaRPr lang="en-US"/>
        </a:p>
      </dgm:t>
    </dgm:pt>
    <dgm:pt modelId="{47A3AE35-7935-49A6-B622-F877B394CDA8}" type="sibTrans" cxnId="{B3AE23F3-D106-4003-8D3D-BD3CB475B3D7}">
      <dgm:prSet/>
      <dgm:spPr/>
      <dgm:t>
        <a:bodyPr/>
        <a:lstStyle/>
        <a:p>
          <a:endParaRPr lang="en-US"/>
        </a:p>
      </dgm:t>
    </dgm:pt>
    <dgm:pt modelId="{151115E8-E2F6-4DED-9DDD-CCDDDEC264C1}" type="pres">
      <dgm:prSet presAssocID="{70DAD28C-AB9F-47DA-81F6-35E7CF9DCDAA}" presName="Name0" presStyleCnt="0">
        <dgm:presLayoutVars>
          <dgm:dir/>
          <dgm:animLvl val="lvl"/>
          <dgm:resizeHandles val="exact"/>
        </dgm:presLayoutVars>
      </dgm:prSet>
      <dgm:spPr/>
    </dgm:pt>
    <dgm:pt modelId="{CE4C040F-A1F2-4C41-8115-C76A1ECA25E2}" type="pres">
      <dgm:prSet presAssocID="{CD02C44B-C19C-49B1-A35E-7CA053239246}" presName="composite" presStyleCnt="0"/>
      <dgm:spPr/>
    </dgm:pt>
    <dgm:pt modelId="{AB72F1D4-59D0-4A2F-9BE1-009D9D6180E8}" type="pres">
      <dgm:prSet presAssocID="{CD02C44B-C19C-49B1-A35E-7CA053239246}" presName="parTx" presStyleLbl="alignNode1" presStyleIdx="0" presStyleCnt="3">
        <dgm:presLayoutVars>
          <dgm:chMax val="0"/>
          <dgm:chPref val="0"/>
          <dgm:bulletEnabled val="1"/>
        </dgm:presLayoutVars>
      </dgm:prSet>
      <dgm:spPr/>
    </dgm:pt>
    <dgm:pt modelId="{0CA19D99-6341-4AA5-8ADE-C7331799DC17}" type="pres">
      <dgm:prSet presAssocID="{CD02C44B-C19C-49B1-A35E-7CA053239246}" presName="desTx" presStyleLbl="alignAccFollowNode1" presStyleIdx="0" presStyleCnt="3">
        <dgm:presLayoutVars>
          <dgm:bulletEnabled val="1"/>
        </dgm:presLayoutVars>
      </dgm:prSet>
      <dgm:spPr/>
    </dgm:pt>
    <dgm:pt modelId="{885AD6DF-C992-41E6-9BDF-A59D495D293F}" type="pres">
      <dgm:prSet presAssocID="{DD8ACBED-66C2-4927-9FAB-D9D970CCA197}" presName="space" presStyleCnt="0"/>
      <dgm:spPr/>
    </dgm:pt>
    <dgm:pt modelId="{31E87F89-B3E5-4B81-918F-BE1EEF380E49}" type="pres">
      <dgm:prSet presAssocID="{F4D7F447-E7BC-48B2-9118-667426D748E6}" presName="composite" presStyleCnt="0"/>
      <dgm:spPr/>
    </dgm:pt>
    <dgm:pt modelId="{583E3025-8C21-4ED9-8CD1-885CF788710B}" type="pres">
      <dgm:prSet presAssocID="{F4D7F447-E7BC-48B2-9118-667426D748E6}" presName="parTx" presStyleLbl="alignNode1" presStyleIdx="1" presStyleCnt="3">
        <dgm:presLayoutVars>
          <dgm:chMax val="0"/>
          <dgm:chPref val="0"/>
          <dgm:bulletEnabled val="1"/>
        </dgm:presLayoutVars>
      </dgm:prSet>
      <dgm:spPr/>
    </dgm:pt>
    <dgm:pt modelId="{2D4FC1E7-3604-430E-A363-00FE15F3D8FE}" type="pres">
      <dgm:prSet presAssocID="{F4D7F447-E7BC-48B2-9118-667426D748E6}" presName="desTx" presStyleLbl="alignAccFollowNode1" presStyleIdx="1" presStyleCnt="3">
        <dgm:presLayoutVars>
          <dgm:bulletEnabled val="1"/>
        </dgm:presLayoutVars>
      </dgm:prSet>
      <dgm:spPr/>
    </dgm:pt>
    <dgm:pt modelId="{6AFF018E-6274-4069-B049-E9934E55B1D7}" type="pres">
      <dgm:prSet presAssocID="{1DE01AF8-FD99-4991-9958-8762B8CEB7B1}" presName="space" presStyleCnt="0"/>
      <dgm:spPr/>
    </dgm:pt>
    <dgm:pt modelId="{D2269A6B-EEEC-4C28-AD67-7C9B453AF8D3}" type="pres">
      <dgm:prSet presAssocID="{DEC01182-A53D-4E8F-A3E3-F47836E31A93}" presName="composite" presStyleCnt="0"/>
      <dgm:spPr/>
    </dgm:pt>
    <dgm:pt modelId="{669A4D86-6CC0-458B-B7AF-EBCDF87B3CC1}" type="pres">
      <dgm:prSet presAssocID="{DEC01182-A53D-4E8F-A3E3-F47836E31A93}" presName="parTx" presStyleLbl="alignNode1" presStyleIdx="2" presStyleCnt="3">
        <dgm:presLayoutVars>
          <dgm:chMax val="0"/>
          <dgm:chPref val="0"/>
          <dgm:bulletEnabled val="1"/>
        </dgm:presLayoutVars>
      </dgm:prSet>
      <dgm:spPr/>
    </dgm:pt>
    <dgm:pt modelId="{9C128D4E-4FD8-4524-B3C0-555AF1F33DB8}" type="pres">
      <dgm:prSet presAssocID="{DEC01182-A53D-4E8F-A3E3-F47836E31A93}" presName="desTx" presStyleLbl="alignAccFollowNode1" presStyleIdx="2" presStyleCnt="3">
        <dgm:presLayoutVars>
          <dgm:bulletEnabled val="1"/>
        </dgm:presLayoutVars>
      </dgm:prSet>
      <dgm:spPr/>
    </dgm:pt>
  </dgm:ptLst>
  <dgm:cxnLst>
    <dgm:cxn modelId="{A7562A05-6576-4534-9C0D-A8AE705AA48F}" srcId="{F4D7F447-E7BC-48B2-9118-667426D748E6}" destId="{8E116F45-3C71-42B6-BF17-4A480A704E85}" srcOrd="0" destOrd="0" parTransId="{BED925E3-2DA1-4A30-8C01-A8AE64A1DB26}" sibTransId="{114178CC-E314-41E2-9FC4-F46553700216}"/>
    <dgm:cxn modelId="{58AE210A-7B06-4819-BD75-F1AEB84DEE34}" type="presOf" srcId="{83346430-C5B8-4123-BA9E-BE8CEA86BB38}" destId="{2D4FC1E7-3604-430E-A363-00FE15F3D8FE}" srcOrd="0" destOrd="5" presId="urn:microsoft.com/office/officeart/2005/8/layout/hList1"/>
    <dgm:cxn modelId="{3B204214-DDA1-4A5B-9A9B-5B01CEEF66E0}" srcId="{F4D7F447-E7BC-48B2-9118-667426D748E6}" destId="{83346430-C5B8-4123-BA9E-BE8CEA86BB38}" srcOrd="2" destOrd="0" parTransId="{55BEEC76-30A8-448E-AB6B-3B51593D0D01}" sibTransId="{66D280C2-7680-49DB-8310-609C86E77081}"/>
    <dgm:cxn modelId="{18B5211A-E812-4F8E-827F-E2365A016F41}" type="presOf" srcId="{BA37A40F-EA90-4A24-A187-F6E106971A0A}" destId="{2D4FC1E7-3604-430E-A363-00FE15F3D8FE}" srcOrd="0" destOrd="6" presId="urn:microsoft.com/office/officeart/2005/8/layout/hList1"/>
    <dgm:cxn modelId="{27387220-06EA-4298-97F5-EE67850B3523}" srcId="{885A6CA8-3EE9-491F-8568-08A45F127B55}" destId="{3527AAF5-7628-45DE-8A6D-8ACC9536F40A}" srcOrd="0" destOrd="0" parTransId="{F58F1D7F-AB23-44C6-88FC-A0FEAAB2E5F0}" sibTransId="{AEEDAAA7-B3B3-4D9E-A4ED-C3F486A53CB6}"/>
    <dgm:cxn modelId="{2C0B7D23-00CF-4B02-97EA-AEF4407F6951}" type="presOf" srcId="{123BD73A-C73C-4F6D-8EAA-1CE502CD44CD}" destId="{0CA19D99-6341-4AA5-8ADE-C7331799DC17}" srcOrd="0" destOrd="0" presId="urn:microsoft.com/office/officeart/2005/8/layout/hList1"/>
    <dgm:cxn modelId="{25873C27-2985-4AB1-9CDB-DAC2B251E27A}" type="presOf" srcId="{7005C937-37C0-4201-8084-81D425120447}" destId="{2D4FC1E7-3604-430E-A363-00FE15F3D8FE}" srcOrd="0" destOrd="4" presId="urn:microsoft.com/office/officeart/2005/8/layout/hList1"/>
    <dgm:cxn modelId="{00746827-44E8-4B3C-95CD-DADB0609A3B1}" type="presOf" srcId="{F4D7F447-E7BC-48B2-9118-667426D748E6}" destId="{583E3025-8C21-4ED9-8CD1-885CF788710B}" srcOrd="0" destOrd="0" presId="urn:microsoft.com/office/officeart/2005/8/layout/hList1"/>
    <dgm:cxn modelId="{86B42528-BB11-443A-913D-54015BC9A45C}" type="presOf" srcId="{CD02C44B-C19C-49B1-A35E-7CA053239246}" destId="{AB72F1D4-59D0-4A2F-9BE1-009D9D6180E8}" srcOrd="0" destOrd="0" presId="urn:microsoft.com/office/officeart/2005/8/layout/hList1"/>
    <dgm:cxn modelId="{FE7CD72E-C237-4E19-8918-74A6EFC61F88}" srcId="{83346430-C5B8-4123-BA9E-BE8CEA86BB38}" destId="{BA37A40F-EA90-4A24-A187-F6E106971A0A}" srcOrd="0" destOrd="0" parTransId="{1E1AABF1-37F2-4FF4-946B-CD5E2B25255F}" sibTransId="{BC18F943-59DB-4EC9-92D6-A8719DDDAC76}"/>
    <dgm:cxn modelId="{581FAA30-1D12-43D6-9D8F-3CCD3278F059}" srcId="{70DAD28C-AB9F-47DA-81F6-35E7CF9DCDAA}" destId="{CD02C44B-C19C-49B1-A35E-7CA053239246}" srcOrd="0" destOrd="0" parTransId="{4AFD7C1D-4243-4B3C-B4E2-B25AE5DF7BAE}" sibTransId="{DD8ACBED-66C2-4927-9FAB-D9D970CCA197}"/>
    <dgm:cxn modelId="{80CA7339-7FB1-4A52-ABFE-6CF1719C5A9E}" type="presOf" srcId="{70DAD28C-AB9F-47DA-81F6-35E7CF9DCDAA}" destId="{151115E8-E2F6-4DED-9DDD-CCDDDEC264C1}" srcOrd="0" destOrd="0" presId="urn:microsoft.com/office/officeart/2005/8/layout/hList1"/>
    <dgm:cxn modelId="{5EAC6C5D-4115-4FC7-97B6-676CF7737178}" type="presOf" srcId="{C61D0572-A870-4124-A627-1000C7A7F784}" destId="{0CA19D99-6341-4AA5-8ADE-C7331799DC17}" srcOrd="0" destOrd="1" presId="urn:microsoft.com/office/officeart/2005/8/layout/hList1"/>
    <dgm:cxn modelId="{7B7F3744-1A6B-43C4-B841-2ADF48F6F576}" type="presOf" srcId="{29F255CB-A35E-4815-9CC3-47416B445141}" destId="{2D4FC1E7-3604-430E-A363-00FE15F3D8FE}" srcOrd="0" destOrd="1" presId="urn:microsoft.com/office/officeart/2005/8/layout/hList1"/>
    <dgm:cxn modelId="{5925A447-813A-49FA-9974-54CDD9103EB0}" type="presOf" srcId="{8E116F45-3C71-42B6-BF17-4A480A704E85}" destId="{2D4FC1E7-3604-430E-A363-00FE15F3D8FE}" srcOrd="0" destOrd="0" presId="urn:microsoft.com/office/officeart/2005/8/layout/hList1"/>
    <dgm:cxn modelId="{756FD34B-3770-4951-85E7-8D7713317152}" srcId="{CD02C44B-C19C-49B1-A35E-7CA053239246}" destId="{C61D0572-A870-4124-A627-1000C7A7F784}" srcOrd="1" destOrd="0" parTransId="{F8DA973D-4685-4C33-9DE5-5FC327FB3ACE}" sibTransId="{C1E8C4D3-46B3-4100-A6C4-94013AA5B411}"/>
    <dgm:cxn modelId="{AB99854E-107F-4EB6-A47C-A06C09F5904E}" srcId="{885A6CA8-3EE9-491F-8568-08A45F127B55}" destId="{7005C937-37C0-4201-8084-81D425120447}" srcOrd="1" destOrd="0" parTransId="{851C345F-79AA-41E9-8D33-235318EEEBAD}" sibTransId="{21166A93-7375-4DBB-ACEC-41B2BB9F4327}"/>
    <dgm:cxn modelId="{35919250-73D7-467A-86CD-C85716DECD85}" type="presOf" srcId="{DEC01182-A53D-4E8F-A3E3-F47836E31A93}" destId="{669A4D86-6CC0-458B-B7AF-EBCDF87B3CC1}" srcOrd="0" destOrd="0" presId="urn:microsoft.com/office/officeart/2005/8/layout/hList1"/>
    <dgm:cxn modelId="{99E37A72-EC58-4D6D-9DD8-5A5BBFD360E7}" srcId="{F4D7F447-E7BC-48B2-9118-667426D748E6}" destId="{885A6CA8-3EE9-491F-8568-08A45F127B55}" srcOrd="1" destOrd="0" parTransId="{76D7C96B-5A7D-4CE0-9677-BA8240E03699}" sibTransId="{465753F8-87DF-4198-8BD5-E5F66DA3C720}"/>
    <dgm:cxn modelId="{0F82D974-668E-4D4E-94A5-BA9ECEA672F1}" srcId="{83346430-C5B8-4123-BA9E-BE8CEA86BB38}" destId="{D7543666-B57E-4DCB-9FC6-0FF73D511A0F}" srcOrd="1" destOrd="0" parTransId="{B352C380-18F7-4BE5-B4E4-3AAB7EC4F3E7}" sibTransId="{6512C8A4-34BB-4212-845D-C0E24539B48D}"/>
    <dgm:cxn modelId="{7715557D-9CE7-450C-92AA-C66AE0C53450}" type="presOf" srcId="{D93ACB9B-172E-4488-81A2-66A36600600E}" destId="{9C128D4E-4FD8-4524-B3C0-555AF1F33DB8}" srcOrd="0" destOrd="0" presId="urn:microsoft.com/office/officeart/2005/8/layout/hList1"/>
    <dgm:cxn modelId="{06D38D97-AD1C-46E8-816A-DCA931A366C5}" srcId="{CD02C44B-C19C-49B1-A35E-7CA053239246}" destId="{123BD73A-C73C-4F6D-8EAA-1CE502CD44CD}" srcOrd="0" destOrd="0" parTransId="{1C22E6F7-891F-4EE2-8C65-D567D269BEDA}" sibTransId="{2845D4D1-7EDE-4DB2-953E-F9064286A275}"/>
    <dgm:cxn modelId="{DD7CBEA9-B4CD-4FB9-B67E-16972A4832E7}" type="presOf" srcId="{4CEB4A37-45F9-46EE-BBEB-E68F6846C4AF}" destId="{9C128D4E-4FD8-4524-B3C0-555AF1F33DB8}" srcOrd="0" destOrd="1" presId="urn:microsoft.com/office/officeart/2005/8/layout/hList1"/>
    <dgm:cxn modelId="{5540FDB8-861F-43C6-ABD5-E67624843041}" srcId="{8E116F45-3C71-42B6-BF17-4A480A704E85}" destId="{29F255CB-A35E-4815-9CC3-47416B445141}" srcOrd="0" destOrd="0" parTransId="{DC741E20-4630-498B-9B74-0D3D93F41FE2}" sibTransId="{67BAF865-54C9-42EA-A40A-7C28C3C2A29C}"/>
    <dgm:cxn modelId="{5E2034C9-B17C-4809-AD63-F351ADA30513}" srcId="{70DAD28C-AB9F-47DA-81F6-35E7CF9DCDAA}" destId="{F4D7F447-E7BC-48B2-9118-667426D748E6}" srcOrd="1" destOrd="0" parTransId="{F295C7FC-C31F-4F77-88DE-1E9476221539}" sibTransId="{1DE01AF8-FD99-4991-9958-8762B8CEB7B1}"/>
    <dgm:cxn modelId="{479626DB-1BFF-4BFA-A401-AA2BC1EA9B6F}" type="presOf" srcId="{D7543666-B57E-4DCB-9FC6-0FF73D511A0F}" destId="{2D4FC1E7-3604-430E-A363-00FE15F3D8FE}" srcOrd="0" destOrd="7" presId="urn:microsoft.com/office/officeart/2005/8/layout/hList1"/>
    <dgm:cxn modelId="{AC68FFE0-9CFB-4A2C-BC05-D50A0FAD399F}" srcId="{DEC01182-A53D-4E8F-A3E3-F47836E31A93}" destId="{D93ACB9B-172E-4488-81A2-66A36600600E}" srcOrd="0" destOrd="0" parTransId="{FC7CC4E0-38E2-47AE-92FA-B5FADD3C5CA7}" sibTransId="{E4C09D1E-C118-4D84-B1C5-24C07485A4AA}"/>
    <dgm:cxn modelId="{57EC65E7-E775-4B05-92AE-C679FCB34E92}" type="presOf" srcId="{885A6CA8-3EE9-491F-8568-08A45F127B55}" destId="{2D4FC1E7-3604-430E-A363-00FE15F3D8FE}" srcOrd="0" destOrd="2" presId="urn:microsoft.com/office/officeart/2005/8/layout/hList1"/>
    <dgm:cxn modelId="{5F9592EA-5545-43E4-8502-6EEB9584FE11}" type="presOf" srcId="{3527AAF5-7628-45DE-8A6D-8ACC9536F40A}" destId="{2D4FC1E7-3604-430E-A363-00FE15F3D8FE}" srcOrd="0" destOrd="3" presId="urn:microsoft.com/office/officeart/2005/8/layout/hList1"/>
    <dgm:cxn modelId="{45B20BF3-B171-4750-BD44-992A9520F289}" srcId="{70DAD28C-AB9F-47DA-81F6-35E7CF9DCDAA}" destId="{DEC01182-A53D-4E8F-A3E3-F47836E31A93}" srcOrd="2" destOrd="0" parTransId="{E1A42516-1226-4DFF-8F64-ABC2CF513B7E}" sibTransId="{C66C764D-F309-4EF9-BDCE-4DEBAF90B619}"/>
    <dgm:cxn modelId="{B3AE23F3-D106-4003-8D3D-BD3CB475B3D7}" srcId="{DEC01182-A53D-4E8F-A3E3-F47836E31A93}" destId="{4CEB4A37-45F9-46EE-BBEB-E68F6846C4AF}" srcOrd="1" destOrd="0" parTransId="{3E81F24C-588E-4A26-85BD-E07389C34135}" sibTransId="{47A3AE35-7935-49A6-B622-F877B394CDA8}"/>
    <dgm:cxn modelId="{DB72AF92-5136-4299-BECB-1DAC7EEC8544}" type="presParOf" srcId="{151115E8-E2F6-4DED-9DDD-CCDDDEC264C1}" destId="{CE4C040F-A1F2-4C41-8115-C76A1ECA25E2}" srcOrd="0" destOrd="0" presId="urn:microsoft.com/office/officeart/2005/8/layout/hList1"/>
    <dgm:cxn modelId="{B9BA1019-491E-4E10-BCDB-CE3BA4F20393}" type="presParOf" srcId="{CE4C040F-A1F2-4C41-8115-C76A1ECA25E2}" destId="{AB72F1D4-59D0-4A2F-9BE1-009D9D6180E8}" srcOrd="0" destOrd="0" presId="urn:microsoft.com/office/officeart/2005/8/layout/hList1"/>
    <dgm:cxn modelId="{D4BB5813-6486-4CC9-BAAE-9C0E5AE92AC0}" type="presParOf" srcId="{CE4C040F-A1F2-4C41-8115-C76A1ECA25E2}" destId="{0CA19D99-6341-4AA5-8ADE-C7331799DC17}" srcOrd="1" destOrd="0" presId="urn:microsoft.com/office/officeart/2005/8/layout/hList1"/>
    <dgm:cxn modelId="{A4FDFDF9-13D7-4008-B8A3-F7AEE7160BD6}" type="presParOf" srcId="{151115E8-E2F6-4DED-9DDD-CCDDDEC264C1}" destId="{885AD6DF-C992-41E6-9BDF-A59D495D293F}" srcOrd="1" destOrd="0" presId="urn:microsoft.com/office/officeart/2005/8/layout/hList1"/>
    <dgm:cxn modelId="{534C87A1-CC88-44A8-A49F-9C22C3FFA5DB}" type="presParOf" srcId="{151115E8-E2F6-4DED-9DDD-CCDDDEC264C1}" destId="{31E87F89-B3E5-4B81-918F-BE1EEF380E49}" srcOrd="2" destOrd="0" presId="urn:microsoft.com/office/officeart/2005/8/layout/hList1"/>
    <dgm:cxn modelId="{2F713191-3B14-4CDB-958A-4E62EEDECC10}" type="presParOf" srcId="{31E87F89-B3E5-4B81-918F-BE1EEF380E49}" destId="{583E3025-8C21-4ED9-8CD1-885CF788710B}" srcOrd="0" destOrd="0" presId="urn:microsoft.com/office/officeart/2005/8/layout/hList1"/>
    <dgm:cxn modelId="{8BA592EB-8359-42C9-ABE1-F7CCE1A87CEB}" type="presParOf" srcId="{31E87F89-B3E5-4B81-918F-BE1EEF380E49}" destId="{2D4FC1E7-3604-430E-A363-00FE15F3D8FE}" srcOrd="1" destOrd="0" presId="urn:microsoft.com/office/officeart/2005/8/layout/hList1"/>
    <dgm:cxn modelId="{C982C50D-7291-406E-8402-E3079E5A20BB}" type="presParOf" srcId="{151115E8-E2F6-4DED-9DDD-CCDDDEC264C1}" destId="{6AFF018E-6274-4069-B049-E9934E55B1D7}" srcOrd="3" destOrd="0" presId="urn:microsoft.com/office/officeart/2005/8/layout/hList1"/>
    <dgm:cxn modelId="{DB2506CF-573B-4F84-9C18-7FA33945CA60}" type="presParOf" srcId="{151115E8-E2F6-4DED-9DDD-CCDDDEC264C1}" destId="{D2269A6B-EEEC-4C28-AD67-7C9B453AF8D3}" srcOrd="4" destOrd="0" presId="urn:microsoft.com/office/officeart/2005/8/layout/hList1"/>
    <dgm:cxn modelId="{D093CC19-E3BD-49CA-BB37-4893026246D9}" type="presParOf" srcId="{D2269A6B-EEEC-4C28-AD67-7C9B453AF8D3}" destId="{669A4D86-6CC0-458B-B7AF-EBCDF87B3CC1}" srcOrd="0" destOrd="0" presId="urn:microsoft.com/office/officeart/2005/8/layout/hList1"/>
    <dgm:cxn modelId="{D1008656-F7EF-481A-935F-93A2172AFF5C}" type="presParOf" srcId="{D2269A6B-EEEC-4C28-AD67-7C9B453AF8D3}" destId="{9C128D4E-4FD8-4524-B3C0-555AF1F33DB8}"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dirty="0">
              <a:solidFill>
                <a:srgbClr val="FFFFFF"/>
              </a:solidFill>
            </a:rPr>
            <a:t>Read Scale-Out feature is available in which Service Tiers?</a:t>
          </a:r>
          <a:endParaRPr lang="en-US" sz="2400" dirty="0"/>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A45B1CC5-0BD8-473B-A330-62D5AB3F01EC}">
      <dgm:prSet custT="1"/>
      <dgm:spPr/>
      <dgm:t>
        <a:bodyPr/>
        <a:lstStyle/>
        <a:p>
          <a:pPr>
            <a:buFont typeface="Arial" panose="020B0604020202020204" pitchFamily="34" charset="0"/>
            <a:buChar char="•"/>
          </a:pPr>
          <a:r>
            <a:rPr lang="en-US" sz="2400" dirty="0">
              <a:solidFill>
                <a:srgbClr val="FFFFFF"/>
              </a:solidFill>
            </a:rPr>
            <a:t>How many replicas are enabled to load balance read-only query workloads?</a:t>
          </a:r>
          <a:endParaRPr lang="en-US" sz="2400" dirty="0"/>
        </a:p>
      </dgm:t>
    </dgm:pt>
    <dgm:pt modelId="{8EA04EEC-CCD4-46DA-9C88-3106A6F0A78A}" type="parTrans" cxnId="{CCB7B222-7D08-43EF-AA3E-6F1F9DC5EC9C}">
      <dgm:prSet/>
      <dgm:spPr/>
      <dgm:t>
        <a:bodyPr/>
        <a:lstStyle/>
        <a:p>
          <a:endParaRPr lang="en-US"/>
        </a:p>
      </dgm:t>
    </dgm:pt>
    <dgm:pt modelId="{27D0F515-F105-449E-9749-C68A1DA90E23}" type="sibTrans" cxnId="{CCB7B222-7D08-43EF-AA3E-6F1F9DC5EC9C}">
      <dgm:prSet/>
      <dgm:spPr/>
      <dgm:t>
        <a:bodyPr/>
        <a:lstStyle/>
        <a:p>
          <a:endParaRPr lang="en-US"/>
        </a:p>
      </dgm:t>
    </dgm:pt>
    <dgm:pt modelId="{42BB41BC-66A2-433A-B337-BA5354B658AB}">
      <dgm:prSet custT="1"/>
      <dgm:spPr/>
      <dgm:t>
        <a:bodyPr/>
        <a:lstStyle/>
        <a:p>
          <a:pPr>
            <a:buFont typeface="Arial" panose="020B0604020202020204" pitchFamily="34" charset="0"/>
            <a:buChar char="•"/>
          </a:pPr>
          <a:r>
            <a:rPr lang="en-US" sz="2400" dirty="0">
              <a:solidFill>
                <a:srgbClr val="FFFFFF"/>
              </a:solidFill>
            </a:rPr>
            <a:t>How do you connect to a </a:t>
          </a:r>
          <a:r>
            <a:rPr lang="en-US" sz="2400" dirty="0"/>
            <a:t>read-only replica?</a:t>
          </a:r>
          <a:r>
            <a:rPr lang="en-US" sz="2400" dirty="0">
              <a:solidFill>
                <a:srgbClr val="FFFFFF"/>
              </a:solidFill>
            </a:rPr>
            <a:t> </a:t>
          </a:r>
          <a:endParaRPr lang="en-US" sz="2400" dirty="0"/>
        </a:p>
      </dgm:t>
    </dgm:pt>
    <dgm:pt modelId="{43504BA9-5FF9-4F7A-873D-E0A7EB7AE330}" type="parTrans" cxnId="{09F607AA-CC57-4F22-8F6E-35FF0109303B}">
      <dgm:prSet/>
      <dgm:spPr/>
      <dgm:t>
        <a:bodyPr/>
        <a:lstStyle/>
        <a:p>
          <a:endParaRPr lang="en-US"/>
        </a:p>
      </dgm:t>
    </dgm:pt>
    <dgm:pt modelId="{FA2A6A3D-F4B6-47E7-A765-35C020B60109}" type="sibTrans" cxnId="{09F607AA-CC57-4F22-8F6E-35FF0109303B}">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3">
        <dgm:presLayoutVars>
          <dgm:chMax val="0"/>
          <dgm:bulletEnabled val="1"/>
        </dgm:presLayoutVars>
      </dgm:prSet>
      <dgm:spPr/>
    </dgm:pt>
    <dgm:pt modelId="{C612FDE1-CA0B-4448-B2A9-6EB44CD0983E}" type="pres">
      <dgm:prSet presAssocID="{CAE4D9F8-FDBB-4525-9125-6BAF56328FCE}" presName="spacer" presStyleCnt="0"/>
      <dgm:spPr/>
    </dgm:pt>
    <dgm:pt modelId="{032772B6-DE17-406B-BD35-B852F21446DB}" type="pres">
      <dgm:prSet presAssocID="{A45B1CC5-0BD8-473B-A330-62D5AB3F01EC}" presName="parentText" presStyleLbl="node1" presStyleIdx="1" presStyleCnt="3">
        <dgm:presLayoutVars>
          <dgm:chMax val="0"/>
          <dgm:bulletEnabled val="1"/>
        </dgm:presLayoutVars>
      </dgm:prSet>
      <dgm:spPr/>
    </dgm:pt>
    <dgm:pt modelId="{2B352F3D-A3BD-474A-BE56-79A441932A28}" type="pres">
      <dgm:prSet presAssocID="{27D0F515-F105-449E-9749-C68A1DA90E23}" presName="spacer" presStyleCnt="0"/>
      <dgm:spPr/>
    </dgm:pt>
    <dgm:pt modelId="{BE72819C-846B-4F06-8212-D8C80317CEA8}" type="pres">
      <dgm:prSet presAssocID="{42BB41BC-66A2-433A-B337-BA5354B658AB}" presName="parentText" presStyleLbl="node1" presStyleIdx="2" presStyleCnt="3">
        <dgm:presLayoutVars>
          <dgm:chMax val="0"/>
          <dgm:bulletEnabled val="1"/>
        </dgm:presLayoutVars>
      </dgm:prSet>
      <dgm:spPr/>
    </dgm:pt>
  </dgm:ptLst>
  <dgm:cxnLst>
    <dgm:cxn modelId="{2CA3A109-7C07-4E0A-B7C5-D8A7277093B8}" type="presOf" srcId="{A45B1CC5-0BD8-473B-A330-62D5AB3F01EC}" destId="{032772B6-DE17-406B-BD35-B852F21446DB}" srcOrd="0" destOrd="0" presId="urn:microsoft.com/office/officeart/2005/8/layout/vList2"/>
    <dgm:cxn modelId="{0C23B609-AB88-4FBD-B478-33E0DFAA0630}" type="presOf" srcId="{15A7774C-B622-4F48-8F7B-AF1AAB74E997}" destId="{97400BD5-14CE-4761-8A6A-64BC46D23158}" srcOrd="0" destOrd="0" presId="urn:microsoft.com/office/officeart/2005/8/layout/vList2"/>
    <dgm:cxn modelId="{CCB7B222-7D08-43EF-AA3E-6F1F9DC5EC9C}" srcId="{15A7774C-B622-4F48-8F7B-AF1AAB74E997}" destId="{A45B1CC5-0BD8-473B-A330-62D5AB3F01EC}" srcOrd="1" destOrd="0" parTransId="{8EA04EEC-CCD4-46DA-9C88-3106A6F0A78A}" sibTransId="{27D0F515-F105-449E-9749-C68A1DA90E23}"/>
    <dgm:cxn modelId="{DB4DCB27-91BA-426C-890A-8F10ABBFDD83}" type="presOf" srcId="{CDCA19B1-3B45-4B24-8F19-085A650701BC}" destId="{86989247-99F6-4AF2-B76D-35A7CDAFD370}" srcOrd="0" destOrd="0" presId="urn:microsoft.com/office/officeart/2005/8/layout/vList2"/>
    <dgm:cxn modelId="{5D051373-BFCF-4090-A6EE-2C14B9C728D2}" type="presOf" srcId="{42BB41BC-66A2-433A-B337-BA5354B658AB}" destId="{BE72819C-846B-4F06-8212-D8C80317CEA8}" srcOrd="0" destOrd="0" presId="urn:microsoft.com/office/officeart/2005/8/layout/vList2"/>
    <dgm:cxn modelId="{09F607AA-CC57-4F22-8F6E-35FF0109303B}" srcId="{15A7774C-B622-4F48-8F7B-AF1AAB74E997}" destId="{42BB41BC-66A2-433A-B337-BA5354B658AB}" srcOrd="2" destOrd="0" parTransId="{43504BA9-5FF9-4F7A-873D-E0A7EB7AE330}" sibTransId="{FA2A6A3D-F4B6-47E7-A765-35C020B60109}"/>
    <dgm:cxn modelId="{4BB646B5-2A6D-439D-A88F-AC928930541F}" srcId="{15A7774C-B622-4F48-8F7B-AF1AAB74E997}" destId="{CDCA19B1-3B45-4B24-8F19-085A650701BC}" srcOrd="0" destOrd="0" parTransId="{74BFB16A-6DC3-47DD-AE97-F15F596B23DF}" sibTransId="{CAE4D9F8-FDBB-4525-9125-6BAF56328FCE}"/>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997B1702-6987-494C-9661-E032862EE745}" type="presParOf" srcId="{97400BD5-14CE-4761-8A6A-64BC46D23158}" destId="{032772B6-DE17-406B-BD35-B852F21446DB}" srcOrd="2" destOrd="0" presId="urn:microsoft.com/office/officeart/2005/8/layout/vList2"/>
    <dgm:cxn modelId="{DA98E564-0541-4686-BA5F-4D29D7888E30}" type="presParOf" srcId="{97400BD5-14CE-4761-8A6A-64BC46D23158}" destId="{2B352F3D-A3BD-474A-BE56-79A441932A28}" srcOrd="3" destOrd="0" presId="urn:microsoft.com/office/officeart/2005/8/layout/vList2"/>
    <dgm:cxn modelId="{5DE400C5-8415-4B57-B405-97431BCA9C99}" type="presParOf" srcId="{97400BD5-14CE-4761-8A6A-64BC46D23158}" destId="{BE72819C-846B-4F06-8212-D8C80317CEA8}"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200DCDE8-55EF-479C-A267-3DEBE3F9C12F}" type="doc">
      <dgm:prSet loTypeId="urn:microsoft.com/office/officeart/2005/8/layout/matrix3" loCatId="matrix" qsTypeId="urn:microsoft.com/office/officeart/2005/8/quickstyle/simple1" qsCatId="simple" csTypeId="urn:microsoft.com/office/officeart/2005/8/colors/colorful1" csCatId="colorful" phldr="1"/>
      <dgm:spPr/>
      <dgm:t>
        <a:bodyPr/>
        <a:lstStyle/>
        <a:p>
          <a:endParaRPr lang="en-US"/>
        </a:p>
      </dgm:t>
    </dgm:pt>
    <dgm:pt modelId="{C872A41E-29A8-4243-B5C8-BC6751000776}">
      <dgm:prSet/>
      <dgm:spPr/>
      <dgm:t>
        <a:bodyPr/>
        <a:lstStyle/>
        <a:p>
          <a:r>
            <a:rPr lang="en-US" baseline="0" dirty="0"/>
            <a:t>Various Tools to Manage Azure SQL Database</a:t>
          </a:r>
          <a:endParaRPr lang="en-US" dirty="0"/>
        </a:p>
      </dgm:t>
    </dgm:pt>
    <dgm:pt modelId="{FA97841F-B4CB-431F-9ABD-2484A57D602D}" type="parTrans" cxnId="{D70C1AC7-0D95-4B5D-8EE8-E7183535C142}">
      <dgm:prSet/>
      <dgm:spPr/>
      <dgm:t>
        <a:bodyPr/>
        <a:lstStyle/>
        <a:p>
          <a:endParaRPr lang="en-US"/>
        </a:p>
      </dgm:t>
    </dgm:pt>
    <dgm:pt modelId="{F3EEC29E-30A7-4F85-B1FC-DD4B7D396E4B}" type="sibTrans" cxnId="{D70C1AC7-0D95-4B5D-8EE8-E7183535C142}">
      <dgm:prSet/>
      <dgm:spPr/>
      <dgm:t>
        <a:bodyPr/>
        <a:lstStyle/>
        <a:p>
          <a:endParaRPr lang="en-US"/>
        </a:p>
      </dgm:t>
    </dgm:pt>
    <dgm:pt modelId="{6D66AC1C-F85A-42A9-8E37-C455A02FDFE6}">
      <dgm:prSet/>
      <dgm:spPr/>
      <dgm:t>
        <a:bodyPr/>
        <a:lstStyle/>
        <a:p>
          <a:r>
            <a:rPr lang="en-US" baseline="0" dirty="0"/>
            <a:t>Scaling Azure SQL Databases Up and Down</a:t>
          </a:r>
          <a:endParaRPr lang="en-US" dirty="0"/>
        </a:p>
      </dgm:t>
    </dgm:pt>
    <dgm:pt modelId="{FE1FF1F6-E69C-4C95-A95F-0F08B6BD593D}" type="parTrans" cxnId="{52A0712C-2304-46C7-ABDE-2DDF8C330743}">
      <dgm:prSet/>
      <dgm:spPr/>
      <dgm:t>
        <a:bodyPr/>
        <a:lstStyle/>
        <a:p>
          <a:endParaRPr lang="en-US"/>
        </a:p>
      </dgm:t>
    </dgm:pt>
    <dgm:pt modelId="{1EBD67C1-D298-465F-9B18-AB56F446E192}" type="sibTrans" cxnId="{52A0712C-2304-46C7-ABDE-2DDF8C330743}">
      <dgm:prSet/>
      <dgm:spPr/>
      <dgm:t>
        <a:bodyPr/>
        <a:lstStyle/>
        <a:p>
          <a:endParaRPr lang="en-US"/>
        </a:p>
      </dgm:t>
    </dgm:pt>
    <dgm:pt modelId="{6690932D-DD40-452D-9AAA-A80BAC291520}">
      <dgm:prSet/>
      <dgm:spPr/>
      <dgm:t>
        <a:bodyPr/>
        <a:lstStyle/>
        <a:p>
          <a:r>
            <a:rPr lang="en-US" baseline="0" dirty="0"/>
            <a:t>Maintenance and Scheduling Jobs in Azure SQL Database</a:t>
          </a:r>
          <a:endParaRPr lang="en-US" dirty="0"/>
        </a:p>
      </dgm:t>
    </dgm:pt>
    <dgm:pt modelId="{8A71F760-8B40-4C03-AD96-BE4A7268F5F5}" type="parTrans" cxnId="{6745682E-FF4F-40E2-A399-B32878830949}">
      <dgm:prSet/>
      <dgm:spPr/>
      <dgm:t>
        <a:bodyPr/>
        <a:lstStyle/>
        <a:p>
          <a:endParaRPr lang="en-US"/>
        </a:p>
      </dgm:t>
    </dgm:pt>
    <dgm:pt modelId="{AE0305BE-C81F-4E9F-99C5-46FBE4EEEABC}" type="sibTrans" cxnId="{6745682E-FF4F-40E2-A399-B32878830949}">
      <dgm:prSet/>
      <dgm:spPr/>
      <dgm:t>
        <a:bodyPr/>
        <a:lstStyle/>
        <a:p>
          <a:endParaRPr lang="en-US"/>
        </a:p>
      </dgm:t>
    </dgm:pt>
    <dgm:pt modelId="{15D41E62-0DD1-4CCF-B309-C11639316840}">
      <dgm:prSet/>
      <dgm:spPr/>
      <dgm:t>
        <a:bodyPr/>
        <a:lstStyle/>
        <a:p>
          <a:r>
            <a:rPr lang="en-US" baseline="0" dirty="0"/>
            <a:t>Azure SQL Database Read Scale-Out</a:t>
          </a:r>
          <a:endParaRPr lang="en-US" dirty="0"/>
        </a:p>
      </dgm:t>
    </dgm:pt>
    <dgm:pt modelId="{6A860B71-8EE6-4FEF-892F-DFAFA0FF8E59}" type="parTrans" cxnId="{1BD648EA-17AE-4F39-9934-BF04E819C48C}">
      <dgm:prSet/>
      <dgm:spPr/>
      <dgm:t>
        <a:bodyPr/>
        <a:lstStyle/>
        <a:p>
          <a:endParaRPr lang="en-US"/>
        </a:p>
      </dgm:t>
    </dgm:pt>
    <dgm:pt modelId="{7DB02249-B924-4A92-A52A-24F19BDC70E5}" type="sibTrans" cxnId="{1BD648EA-17AE-4F39-9934-BF04E819C48C}">
      <dgm:prSet/>
      <dgm:spPr/>
      <dgm:t>
        <a:bodyPr/>
        <a:lstStyle/>
        <a:p>
          <a:endParaRPr lang="en-US"/>
        </a:p>
      </dgm:t>
    </dgm:pt>
    <dgm:pt modelId="{3EE31EE5-6A3F-4173-BC4A-0FBA45D698C5}" type="pres">
      <dgm:prSet presAssocID="{200DCDE8-55EF-479C-A267-3DEBE3F9C12F}" presName="matrix" presStyleCnt="0">
        <dgm:presLayoutVars>
          <dgm:chMax val="1"/>
          <dgm:dir/>
          <dgm:resizeHandles val="exact"/>
        </dgm:presLayoutVars>
      </dgm:prSet>
      <dgm:spPr/>
    </dgm:pt>
    <dgm:pt modelId="{5D19FB4E-CBC8-4361-AE72-496C6AEC991D}" type="pres">
      <dgm:prSet presAssocID="{200DCDE8-55EF-479C-A267-3DEBE3F9C12F}" presName="diamond" presStyleLbl="bgShp" presStyleIdx="0" presStyleCnt="1"/>
      <dgm:spPr/>
    </dgm:pt>
    <dgm:pt modelId="{E2714445-7F7D-44E4-ADAE-3695B81A5DAE}" type="pres">
      <dgm:prSet presAssocID="{200DCDE8-55EF-479C-A267-3DEBE3F9C12F}" presName="quad1" presStyleLbl="node1" presStyleIdx="0" presStyleCnt="4">
        <dgm:presLayoutVars>
          <dgm:chMax val="0"/>
          <dgm:chPref val="0"/>
          <dgm:bulletEnabled val="1"/>
        </dgm:presLayoutVars>
      </dgm:prSet>
      <dgm:spPr/>
    </dgm:pt>
    <dgm:pt modelId="{E5D75937-D402-4BC7-8351-C4EFF81AC2C4}" type="pres">
      <dgm:prSet presAssocID="{200DCDE8-55EF-479C-A267-3DEBE3F9C12F}" presName="quad2" presStyleLbl="node1" presStyleIdx="1" presStyleCnt="4">
        <dgm:presLayoutVars>
          <dgm:chMax val="0"/>
          <dgm:chPref val="0"/>
          <dgm:bulletEnabled val="1"/>
        </dgm:presLayoutVars>
      </dgm:prSet>
      <dgm:spPr/>
    </dgm:pt>
    <dgm:pt modelId="{2251A84C-AA83-4EFE-A8B1-ACF26CD0DF7C}" type="pres">
      <dgm:prSet presAssocID="{200DCDE8-55EF-479C-A267-3DEBE3F9C12F}" presName="quad3" presStyleLbl="node1" presStyleIdx="2" presStyleCnt="4">
        <dgm:presLayoutVars>
          <dgm:chMax val="0"/>
          <dgm:chPref val="0"/>
          <dgm:bulletEnabled val="1"/>
        </dgm:presLayoutVars>
      </dgm:prSet>
      <dgm:spPr/>
    </dgm:pt>
    <dgm:pt modelId="{EDF604F5-5A87-458F-8F31-3BCF4B7739DC}" type="pres">
      <dgm:prSet presAssocID="{200DCDE8-55EF-479C-A267-3DEBE3F9C12F}" presName="quad4" presStyleLbl="node1" presStyleIdx="3" presStyleCnt="4">
        <dgm:presLayoutVars>
          <dgm:chMax val="0"/>
          <dgm:chPref val="0"/>
          <dgm:bulletEnabled val="1"/>
        </dgm:presLayoutVars>
      </dgm:prSet>
      <dgm:spPr/>
    </dgm:pt>
  </dgm:ptLst>
  <dgm:cxnLst>
    <dgm:cxn modelId="{69B6DA03-D334-4060-82F5-2F4FEE522C7D}" type="presOf" srcId="{200DCDE8-55EF-479C-A267-3DEBE3F9C12F}" destId="{3EE31EE5-6A3F-4173-BC4A-0FBA45D698C5}" srcOrd="0" destOrd="0" presId="urn:microsoft.com/office/officeart/2005/8/layout/matrix3"/>
    <dgm:cxn modelId="{52A0712C-2304-46C7-ABDE-2DDF8C330743}" srcId="{200DCDE8-55EF-479C-A267-3DEBE3F9C12F}" destId="{6D66AC1C-F85A-42A9-8E37-C455A02FDFE6}" srcOrd="1" destOrd="0" parTransId="{FE1FF1F6-E69C-4C95-A95F-0F08B6BD593D}" sibTransId="{1EBD67C1-D298-465F-9B18-AB56F446E192}"/>
    <dgm:cxn modelId="{6745682E-FF4F-40E2-A399-B32878830949}" srcId="{200DCDE8-55EF-479C-A267-3DEBE3F9C12F}" destId="{6690932D-DD40-452D-9AAA-A80BAC291520}" srcOrd="2" destOrd="0" parTransId="{8A71F760-8B40-4C03-AD96-BE4A7268F5F5}" sibTransId="{AE0305BE-C81F-4E9F-99C5-46FBE4EEEABC}"/>
    <dgm:cxn modelId="{9498FB63-B108-43F7-A096-848E415D74B4}" type="presOf" srcId="{15D41E62-0DD1-4CCF-B309-C11639316840}" destId="{EDF604F5-5A87-458F-8F31-3BCF4B7739DC}" srcOrd="0" destOrd="0" presId="urn:microsoft.com/office/officeart/2005/8/layout/matrix3"/>
    <dgm:cxn modelId="{74F2C578-9F2C-4C8F-8654-D47A6E30B8E6}" type="presOf" srcId="{6D66AC1C-F85A-42A9-8E37-C455A02FDFE6}" destId="{E5D75937-D402-4BC7-8351-C4EFF81AC2C4}" srcOrd="0" destOrd="0" presId="urn:microsoft.com/office/officeart/2005/8/layout/matrix3"/>
    <dgm:cxn modelId="{88B3427A-3ACE-4B0D-AD88-CBD5576B0F03}" type="presOf" srcId="{C872A41E-29A8-4243-B5C8-BC6751000776}" destId="{E2714445-7F7D-44E4-ADAE-3695B81A5DAE}" srcOrd="0" destOrd="0" presId="urn:microsoft.com/office/officeart/2005/8/layout/matrix3"/>
    <dgm:cxn modelId="{672871BA-0923-4F86-8B24-F453F4AD2DAE}" type="presOf" srcId="{6690932D-DD40-452D-9AAA-A80BAC291520}" destId="{2251A84C-AA83-4EFE-A8B1-ACF26CD0DF7C}" srcOrd="0" destOrd="0" presId="urn:microsoft.com/office/officeart/2005/8/layout/matrix3"/>
    <dgm:cxn modelId="{D70C1AC7-0D95-4B5D-8EE8-E7183535C142}" srcId="{200DCDE8-55EF-479C-A267-3DEBE3F9C12F}" destId="{C872A41E-29A8-4243-B5C8-BC6751000776}" srcOrd="0" destOrd="0" parTransId="{FA97841F-B4CB-431F-9ABD-2484A57D602D}" sibTransId="{F3EEC29E-30A7-4F85-B1FC-DD4B7D396E4B}"/>
    <dgm:cxn modelId="{1BD648EA-17AE-4F39-9934-BF04E819C48C}" srcId="{200DCDE8-55EF-479C-A267-3DEBE3F9C12F}" destId="{15D41E62-0DD1-4CCF-B309-C11639316840}" srcOrd="3" destOrd="0" parTransId="{6A860B71-8EE6-4FEF-892F-DFAFA0FF8E59}" sibTransId="{7DB02249-B924-4A92-A52A-24F19BDC70E5}"/>
    <dgm:cxn modelId="{38310140-B161-459F-91B1-0A6649DD168D}" type="presParOf" srcId="{3EE31EE5-6A3F-4173-BC4A-0FBA45D698C5}" destId="{5D19FB4E-CBC8-4361-AE72-496C6AEC991D}" srcOrd="0" destOrd="0" presId="urn:microsoft.com/office/officeart/2005/8/layout/matrix3"/>
    <dgm:cxn modelId="{2711DB8E-F062-4C72-BFE4-442CB7D316CF}" type="presParOf" srcId="{3EE31EE5-6A3F-4173-BC4A-0FBA45D698C5}" destId="{E2714445-7F7D-44E4-ADAE-3695B81A5DAE}" srcOrd="1" destOrd="0" presId="urn:microsoft.com/office/officeart/2005/8/layout/matrix3"/>
    <dgm:cxn modelId="{AB845646-8D64-45E8-8F2D-349ED0FB4F3A}" type="presParOf" srcId="{3EE31EE5-6A3F-4173-BC4A-0FBA45D698C5}" destId="{E5D75937-D402-4BC7-8351-C4EFF81AC2C4}" srcOrd="2" destOrd="0" presId="urn:microsoft.com/office/officeart/2005/8/layout/matrix3"/>
    <dgm:cxn modelId="{2BBA253B-3E77-4691-9876-20134F9A10A6}" type="presParOf" srcId="{3EE31EE5-6A3F-4173-BC4A-0FBA45D698C5}" destId="{2251A84C-AA83-4EFE-A8B1-ACF26CD0DF7C}" srcOrd="3" destOrd="0" presId="urn:microsoft.com/office/officeart/2005/8/layout/matrix3"/>
    <dgm:cxn modelId="{F1A2B38D-A393-4BD1-AD65-E6BD1A53FBB0}" type="presParOf" srcId="{3EE31EE5-6A3F-4173-BC4A-0FBA45D698C5}" destId="{EDF604F5-5A87-458F-8F31-3BCF4B7739DC}" srcOrd="4" destOrd="0" presId="urn:microsoft.com/office/officeart/2005/8/layout/matrix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7C2FD2A-C89C-4DC3-BEE4-2B48BE61C6F6}" type="doc">
      <dgm:prSet loTypeId="urn:microsoft.com/office/officeart/2005/8/layout/vList2" loCatId="list" qsTypeId="urn:microsoft.com/office/officeart/2005/8/quickstyle/simple1" qsCatId="simple" csTypeId="urn:microsoft.com/office/officeart/2005/8/colors/colorful2" csCatId="colorful"/>
      <dgm:spPr/>
      <dgm:t>
        <a:bodyPr/>
        <a:lstStyle/>
        <a:p>
          <a:endParaRPr lang="en-US"/>
        </a:p>
      </dgm:t>
    </dgm:pt>
    <dgm:pt modelId="{F76472F8-23C8-4AEE-B283-9E0FBC1E9703}">
      <dgm:prSet custT="1"/>
      <dgm:spPr/>
      <dgm:t>
        <a:bodyPr/>
        <a:lstStyle/>
        <a:p>
          <a:r>
            <a:rPr lang="en-US" sz="2400" baseline="0" dirty="0"/>
            <a:t>Download the latest version of Azure Data Studio.</a:t>
          </a:r>
          <a:endParaRPr lang="en-US" sz="2400" dirty="0"/>
        </a:p>
      </dgm:t>
    </dgm:pt>
    <dgm:pt modelId="{BA987933-15E4-4B3F-8DE8-DC382F7BC15E}" type="parTrans" cxnId="{BE1A6972-7CF7-4E28-9B6F-FE44BC389E73}">
      <dgm:prSet/>
      <dgm:spPr/>
      <dgm:t>
        <a:bodyPr/>
        <a:lstStyle/>
        <a:p>
          <a:endParaRPr lang="en-US"/>
        </a:p>
      </dgm:t>
    </dgm:pt>
    <dgm:pt modelId="{883EB577-113D-4290-B7AB-9B10006DE3B1}" type="sibTrans" cxnId="{BE1A6972-7CF7-4E28-9B6F-FE44BC389E73}">
      <dgm:prSet/>
      <dgm:spPr/>
      <dgm:t>
        <a:bodyPr/>
        <a:lstStyle/>
        <a:p>
          <a:endParaRPr lang="en-US"/>
        </a:p>
      </dgm:t>
    </dgm:pt>
    <dgm:pt modelId="{EBDE3F7D-2014-4186-88E9-50409272F463}">
      <dgm:prSet custT="1"/>
      <dgm:spPr/>
      <dgm:t>
        <a:bodyPr/>
        <a:lstStyle/>
        <a:p>
          <a:r>
            <a:rPr lang="en-US" sz="2400" baseline="0" dirty="0"/>
            <a:t>Get the fully qualified domain name of your Azure SQL Server.</a:t>
          </a:r>
          <a:endParaRPr lang="en-US" sz="2400" dirty="0"/>
        </a:p>
      </dgm:t>
    </dgm:pt>
    <dgm:pt modelId="{1070FC47-BFF3-472F-BC94-3D008A813653}" type="parTrans" cxnId="{29757A93-ECC8-420A-9270-E98FA1875225}">
      <dgm:prSet/>
      <dgm:spPr/>
      <dgm:t>
        <a:bodyPr/>
        <a:lstStyle/>
        <a:p>
          <a:endParaRPr lang="en-US"/>
        </a:p>
      </dgm:t>
    </dgm:pt>
    <dgm:pt modelId="{59F297A8-070C-47F5-AFDA-2D35216788EF}" type="sibTrans" cxnId="{29757A93-ECC8-420A-9270-E98FA1875225}">
      <dgm:prSet/>
      <dgm:spPr/>
      <dgm:t>
        <a:bodyPr/>
        <a:lstStyle/>
        <a:p>
          <a:endParaRPr lang="en-US"/>
        </a:p>
      </dgm:t>
    </dgm:pt>
    <dgm:pt modelId="{B7E4883F-D8AD-4D26-9B88-2DF91BF394D3}">
      <dgm:prSet custT="1"/>
      <dgm:spPr/>
      <dgm:t>
        <a:bodyPr/>
        <a:lstStyle/>
        <a:p>
          <a:r>
            <a:rPr lang="en-US" sz="2400" baseline="0" dirty="0"/>
            <a:t>Connect to your SQL Database.</a:t>
          </a:r>
          <a:endParaRPr lang="en-US" sz="2400" dirty="0"/>
        </a:p>
      </dgm:t>
    </dgm:pt>
    <dgm:pt modelId="{A10CB7DB-BDD6-44AE-9191-664B76EADF29}" type="parTrans" cxnId="{8865DF5E-A060-4AB6-97A9-85426E761B17}">
      <dgm:prSet/>
      <dgm:spPr/>
      <dgm:t>
        <a:bodyPr/>
        <a:lstStyle/>
        <a:p>
          <a:endParaRPr lang="en-US"/>
        </a:p>
      </dgm:t>
    </dgm:pt>
    <dgm:pt modelId="{AED51321-28F6-48C5-B9E3-D76511381135}" type="sibTrans" cxnId="{8865DF5E-A060-4AB6-97A9-85426E761B17}">
      <dgm:prSet/>
      <dgm:spPr/>
      <dgm:t>
        <a:bodyPr/>
        <a:lstStyle/>
        <a:p>
          <a:endParaRPr lang="en-US"/>
        </a:p>
      </dgm:t>
    </dgm:pt>
    <dgm:pt modelId="{4C9FD00A-A2EE-4FA5-8BB8-2A57ADD6A020}" type="pres">
      <dgm:prSet presAssocID="{17C2FD2A-C89C-4DC3-BEE4-2B48BE61C6F6}" presName="linear" presStyleCnt="0">
        <dgm:presLayoutVars>
          <dgm:animLvl val="lvl"/>
          <dgm:resizeHandles val="exact"/>
        </dgm:presLayoutVars>
      </dgm:prSet>
      <dgm:spPr/>
    </dgm:pt>
    <dgm:pt modelId="{4C2F4D03-82E3-410D-AE1C-F4DC5A02FDB5}" type="pres">
      <dgm:prSet presAssocID="{F76472F8-23C8-4AEE-B283-9E0FBC1E9703}" presName="parentText" presStyleLbl="node1" presStyleIdx="0" presStyleCnt="3">
        <dgm:presLayoutVars>
          <dgm:chMax val="0"/>
          <dgm:bulletEnabled val="1"/>
        </dgm:presLayoutVars>
      </dgm:prSet>
      <dgm:spPr/>
    </dgm:pt>
    <dgm:pt modelId="{B8D4CF9F-3C10-4F1A-AC20-1686F5AB0E68}" type="pres">
      <dgm:prSet presAssocID="{883EB577-113D-4290-B7AB-9B10006DE3B1}" presName="spacer" presStyleCnt="0"/>
      <dgm:spPr/>
    </dgm:pt>
    <dgm:pt modelId="{DFCEC8D6-C26F-495E-AC5C-9BEB1ECDF769}" type="pres">
      <dgm:prSet presAssocID="{EBDE3F7D-2014-4186-88E9-50409272F463}" presName="parentText" presStyleLbl="node1" presStyleIdx="1" presStyleCnt="3">
        <dgm:presLayoutVars>
          <dgm:chMax val="0"/>
          <dgm:bulletEnabled val="1"/>
        </dgm:presLayoutVars>
      </dgm:prSet>
      <dgm:spPr/>
    </dgm:pt>
    <dgm:pt modelId="{0DC984E8-5249-4447-8D31-1E3AA29FE17D}" type="pres">
      <dgm:prSet presAssocID="{59F297A8-070C-47F5-AFDA-2D35216788EF}" presName="spacer" presStyleCnt="0"/>
      <dgm:spPr/>
    </dgm:pt>
    <dgm:pt modelId="{B568A779-12BD-47BB-993A-F152A78BC6D6}" type="pres">
      <dgm:prSet presAssocID="{B7E4883F-D8AD-4D26-9B88-2DF91BF394D3}" presName="parentText" presStyleLbl="node1" presStyleIdx="2" presStyleCnt="3">
        <dgm:presLayoutVars>
          <dgm:chMax val="0"/>
          <dgm:bulletEnabled val="1"/>
        </dgm:presLayoutVars>
      </dgm:prSet>
      <dgm:spPr/>
    </dgm:pt>
  </dgm:ptLst>
  <dgm:cxnLst>
    <dgm:cxn modelId="{8865DF5E-A060-4AB6-97A9-85426E761B17}" srcId="{17C2FD2A-C89C-4DC3-BEE4-2B48BE61C6F6}" destId="{B7E4883F-D8AD-4D26-9B88-2DF91BF394D3}" srcOrd="2" destOrd="0" parTransId="{A10CB7DB-BDD6-44AE-9191-664B76EADF29}" sibTransId="{AED51321-28F6-48C5-B9E3-D76511381135}"/>
    <dgm:cxn modelId="{53B66C6A-418D-42DE-B75F-82DF45E40553}" type="presOf" srcId="{B7E4883F-D8AD-4D26-9B88-2DF91BF394D3}" destId="{B568A779-12BD-47BB-993A-F152A78BC6D6}" srcOrd="0" destOrd="0" presId="urn:microsoft.com/office/officeart/2005/8/layout/vList2"/>
    <dgm:cxn modelId="{BE1A6972-7CF7-4E28-9B6F-FE44BC389E73}" srcId="{17C2FD2A-C89C-4DC3-BEE4-2B48BE61C6F6}" destId="{F76472F8-23C8-4AEE-B283-9E0FBC1E9703}" srcOrd="0" destOrd="0" parTransId="{BA987933-15E4-4B3F-8DE8-DC382F7BC15E}" sibTransId="{883EB577-113D-4290-B7AB-9B10006DE3B1}"/>
    <dgm:cxn modelId="{29757A93-ECC8-420A-9270-E98FA1875225}" srcId="{17C2FD2A-C89C-4DC3-BEE4-2B48BE61C6F6}" destId="{EBDE3F7D-2014-4186-88E9-50409272F463}" srcOrd="1" destOrd="0" parTransId="{1070FC47-BFF3-472F-BC94-3D008A813653}" sibTransId="{59F297A8-070C-47F5-AFDA-2D35216788EF}"/>
    <dgm:cxn modelId="{7F479999-0CE4-493C-97A8-BD93A0D7AD80}" type="presOf" srcId="{17C2FD2A-C89C-4DC3-BEE4-2B48BE61C6F6}" destId="{4C9FD00A-A2EE-4FA5-8BB8-2A57ADD6A020}" srcOrd="0" destOrd="0" presId="urn:microsoft.com/office/officeart/2005/8/layout/vList2"/>
    <dgm:cxn modelId="{18ACCDA3-9EEB-4258-90A1-88BF41776792}" type="presOf" srcId="{F76472F8-23C8-4AEE-B283-9E0FBC1E9703}" destId="{4C2F4D03-82E3-410D-AE1C-F4DC5A02FDB5}" srcOrd="0" destOrd="0" presId="urn:microsoft.com/office/officeart/2005/8/layout/vList2"/>
    <dgm:cxn modelId="{0E05C0AD-D6EA-4793-B913-689989D3CF1F}" type="presOf" srcId="{EBDE3F7D-2014-4186-88E9-50409272F463}" destId="{DFCEC8D6-C26F-495E-AC5C-9BEB1ECDF769}" srcOrd="0" destOrd="0" presId="urn:microsoft.com/office/officeart/2005/8/layout/vList2"/>
    <dgm:cxn modelId="{A6E396BE-B9D0-440D-B71A-F378D224330B}" type="presParOf" srcId="{4C9FD00A-A2EE-4FA5-8BB8-2A57ADD6A020}" destId="{4C2F4D03-82E3-410D-AE1C-F4DC5A02FDB5}" srcOrd="0" destOrd="0" presId="urn:microsoft.com/office/officeart/2005/8/layout/vList2"/>
    <dgm:cxn modelId="{4C808896-AB57-446F-9648-1EB5FF9A67DF}" type="presParOf" srcId="{4C9FD00A-A2EE-4FA5-8BB8-2A57ADD6A020}" destId="{B8D4CF9F-3C10-4F1A-AC20-1686F5AB0E68}" srcOrd="1" destOrd="0" presId="urn:microsoft.com/office/officeart/2005/8/layout/vList2"/>
    <dgm:cxn modelId="{BA924966-9EF1-41EB-A061-4CA98E8A2B53}" type="presParOf" srcId="{4C9FD00A-A2EE-4FA5-8BB8-2A57ADD6A020}" destId="{DFCEC8D6-C26F-495E-AC5C-9BEB1ECDF769}" srcOrd="2" destOrd="0" presId="urn:microsoft.com/office/officeart/2005/8/layout/vList2"/>
    <dgm:cxn modelId="{25111691-FCE5-479E-B19E-55B2AC161E59}" type="presParOf" srcId="{4C9FD00A-A2EE-4FA5-8BB8-2A57ADD6A020}" destId="{0DC984E8-5249-4447-8D31-1E3AA29FE17D}" srcOrd="3" destOrd="0" presId="urn:microsoft.com/office/officeart/2005/8/layout/vList2"/>
    <dgm:cxn modelId="{FB4AEA56-D20C-4362-97C4-75303C977F87}" type="presParOf" srcId="{4C9FD00A-A2EE-4FA5-8BB8-2A57ADD6A020}" destId="{B568A779-12BD-47BB-993A-F152A78BC6D6}"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197DDD4-22FD-4094-92B6-75A4EC4E968B}" type="doc">
      <dgm:prSet loTypeId="urn:microsoft.com/office/officeart/2005/8/layout/vList2" loCatId="list" qsTypeId="urn:microsoft.com/office/officeart/2005/8/quickstyle/simple1" qsCatId="simple" csTypeId="urn:microsoft.com/office/officeart/2005/8/colors/colorful1" csCatId="colorful"/>
      <dgm:spPr/>
      <dgm:t>
        <a:bodyPr/>
        <a:lstStyle/>
        <a:p>
          <a:endParaRPr lang="en-US"/>
        </a:p>
      </dgm:t>
    </dgm:pt>
    <dgm:pt modelId="{FC36F688-6F8D-42B9-9B58-51320771B1B5}">
      <dgm:prSet custT="1"/>
      <dgm:spPr/>
      <dgm:t>
        <a:bodyPr/>
        <a:lstStyle/>
        <a:p>
          <a:r>
            <a:rPr lang="en-US" sz="2000" b="1" baseline="0" dirty="0"/>
            <a:t>PowerShell</a:t>
          </a:r>
          <a:endParaRPr lang="en-US" sz="2000" dirty="0"/>
        </a:p>
      </dgm:t>
    </dgm:pt>
    <dgm:pt modelId="{A70EB970-70B6-4D9D-8B4E-626FCB8AB6CD}" type="parTrans" cxnId="{9BED92F1-19CA-4ED5-AE7E-5E99C14E76FF}">
      <dgm:prSet/>
      <dgm:spPr/>
      <dgm:t>
        <a:bodyPr/>
        <a:lstStyle/>
        <a:p>
          <a:endParaRPr lang="en-US"/>
        </a:p>
      </dgm:t>
    </dgm:pt>
    <dgm:pt modelId="{720352B9-6E4A-4498-9641-A894E442A6C6}" type="sibTrans" cxnId="{9BED92F1-19CA-4ED5-AE7E-5E99C14E76FF}">
      <dgm:prSet/>
      <dgm:spPr/>
      <dgm:t>
        <a:bodyPr/>
        <a:lstStyle/>
        <a:p>
          <a:endParaRPr lang="en-US"/>
        </a:p>
      </dgm:t>
    </dgm:pt>
    <dgm:pt modelId="{2E87DB22-095B-4D58-9F65-D97D65091A71}">
      <dgm:prSet custT="1"/>
      <dgm:spPr/>
      <dgm:t>
        <a:bodyPr/>
        <a:lstStyle/>
        <a:p>
          <a:r>
            <a:rPr lang="en-US" sz="1200" baseline="0" dirty="0"/>
            <a:t>New-</a:t>
          </a:r>
          <a:r>
            <a:rPr lang="en-US" sz="1200" baseline="0" dirty="0" err="1"/>
            <a:t>AzSqlDatabase</a:t>
          </a:r>
          <a:endParaRPr lang="en-US" sz="1200" dirty="0"/>
        </a:p>
      </dgm:t>
    </dgm:pt>
    <dgm:pt modelId="{D25CF92C-EB6C-4F6E-AE71-D7F742AE1C11}" type="parTrans" cxnId="{C9FBD5C5-248C-4142-8E52-153457D59A9C}">
      <dgm:prSet/>
      <dgm:spPr/>
      <dgm:t>
        <a:bodyPr/>
        <a:lstStyle/>
        <a:p>
          <a:endParaRPr lang="en-US"/>
        </a:p>
      </dgm:t>
    </dgm:pt>
    <dgm:pt modelId="{E3A388FB-92BC-4478-BF0C-CF12F9220694}" type="sibTrans" cxnId="{C9FBD5C5-248C-4142-8E52-153457D59A9C}">
      <dgm:prSet/>
      <dgm:spPr/>
      <dgm:t>
        <a:bodyPr/>
        <a:lstStyle/>
        <a:p>
          <a:endParaRPr lang="en-US"/>
        </a:p>
      </dgm:t>
    </dgm:pt>
    <dgm:pt modelId="{2885F4AD-417F-4C0B-A7CD-1352D2E527A4}">
      <dgm:prSet custT="1"/>
      <dgm:spPr/>
      <dgm:t>
        <a:bodyPr/>
        <a:lstStyle/>
        <a:p>
          <a:r>
            <a:rPr lang="en-US" sz="1200" baseline="0" dirty="0"/>
            <a:t>Get-</a:t>
          </a:r>
          <a:r>
            <a:rPr lang="en-US" sz="1200" baseline="0" dirty="0" err="1"/>
            <a:t>AzSqlDatabase</a:t>
          </a:r>
          <a:endParaRPr lang="en-US" sz="1200" dirty="0"/>
        </a:p>
      </dgm:t>
    </dgm:pt>
    <dgm:pt modelId="{0CDB3A69-F5D9-4051-806E-93A34E15FEE6}" type="parTrans" cxnId="{894A4FEF-5271-48BE-BCC5-CE7E92FF16E1}">
      <dgm:prSet/>
      <dgm:spPr/>
      <dgm:t>
        <a:bodyPr/>
        <a:lstStyle/>
        <a:p>
          <a:endParaRPr lang="en-US"/>
        </a:p>
      </dgm:t>
    </dgm:pt>
    <dgm:pt modelId="{0B57A456-BDE8-4473-BFA9-DAE5DB47A09C}" type="sibTrans" cxnId="{894A4FEF-5271-48BE-BCC5-CE7E92FF16E1}">
      <dgm:prSet/>
      <dgm:spPr/>
      <dgm:t>
        <a:bodyPr/>
        <a:lstStyle/>
        <a:p>
          <a:endParaRPr lang="en-US"/>
        </a:p>
      </dgm:t>
    </dgm:pt>
    <dgm:pt modelId="{654698CC-4D1F-4015-BED2-85B4DC883147}">
      <dgm:prSet custT="1"/>
      <dgm:spPr/>
      <dgm:t>
        <a:bodyPr/>
        <a:lstStyle/>
        <a:p>
          <a:r>
            <a:rPr lang="en-US" sz="1200" baseline="0" dirty="0"/>
            <a:t>Set-</a:t>
          </a:r>
          <a:r>
            <a:rPr lang="en-US" sz="1200" baseline="0" dirty="0" err="1"/>
            <a:t>AzSqlDatabase</a:t>
          </a:r>
          <a:endParaRPr lang="en-US" sz="1200" dirty="0"/>
        </a:p>
      </dgm:t>
    </dgm:pt>
    <dgm:pt modelId="{3EC09850-63E7-471A-90F0-90C160DDD0AF}" type="parTrans" cxnId="{4BA14529-8CA7-46E8-A1F5-BC77803C45C3}">
      <dgm:prSet/>
      <dgm:spPr/>
      <dgm:t>
        <a:bodyPr/>
        <a:lstStyle/>
        <a:p>
          <a:endParaRPr lang="en-US"/>
        </a:p>
      </dgm:t>
    </dgm:pt>
    <dgm:pt modelId="{21FE33B3-09FF-431F-9A14-9F3F21B7CA93}" type="sibTrans" cxnId="{4BA14529-8CA7-46E8-A1F5-BC77803C45C3}">
      <dgm:prSet/>
      <dgm:spPr/>
      <dgm:t>
        <a:bodyPr/>
        <a:lstStyle/>
        <a:p>
          <a:endParaRPr lang="en-US"/>
        </a:p>
      </dgm:t>
    </dgm:pt>
    <dgm:pt modelId="{AC67842F-102E-4E5E-9BBD-AEF6A401A8DA}">
      <dgm:prSet custT="1"/>
      <dgm:spPr/>
      <dgm:t>
        <a:bodyPr/>
        <a:lstStyle/>
        <a:p>
          <a:r>
            <a:rPr lang="en-US" sz="1200" baseline="0"/>
            <a:t>Remove-AzSqlDatabase</a:t>
          </a:r>
          <a:endParaRPr lang="en-US" sz="1200"/>
        </a:p>
      </dgm:t>
    </dgm:pt>
    <dgm:pt modelId="{08673B2C-4AD4-4D1F-B9A7-CB951CE28F9C}" type="parTrans" cxnId="{B9CD9D1A-9207-4BE1-8209-AAAACFC416DD}">
      <dgm:prSet/>
      <dgm:spPr/>
      <dgm:t>
        <a:bodyPr/>
        <a:lstStyle/>
        <a:p>
          <a:endParaRPr lang="en-US"/>
        </a:p>
      </dgm:t>
    </dgm:pt>
    <dgm:pt modelId="{08B65A75-2863-43FB-9162-6AEFCE58DEB7}" type="sibTrans" cxnId="{B9CD9D1A-9207-4BE1-8209-AAAACFC416DD}">
      <dgm:prSet/>
      <dgm:spPr/>
      <dgm:t>
        <a:bodyPr/>
        <a:lstStyle/>
        <a:p>
          <a:endParaRPr lang="en-US"/>
        </a:p>
      </dgm:t>
    </dgm:pt>
    <dgm:pt modelId="{4A3791DC-A304-4226-8D15-6E84CEA92FCD}">
      <dgm:prSet custT="1"/>
      <dgm:spPr/>
      <dgm:t>
        <a:bodyPr/>
        <a:lstStyle/>
        <a:p>
          <a:r>
            <a:rPr lang="en-US" sz="1200" baseline="0" dirty="0"/>
            <a:t>New-</a:t>
          </a:r>
          <a:r>
            <a:rPr lang="en-US" sz="1200" baseline="0" dirty="0" err="1"/>
            <a:t>AzResourceGroup</a:t>
          </a:r>
          <a:endParaRPr lang="en-US" sz="1200" dirty="0"/>
        </a:p>
      </dgm:t>
    </dgm:pt>
    <dgm:pt modelId="{0DB5B706-7264-4DC5-AB5B-4D294CA3C394}" type="parTrans" cxnId="{02EFD1A9-0072-4104-AF76-5F3614607727}">
      <dgm:prSet/>
      <dgm:spPr/>
      <dgm:t>
        <a:bodyPr/>
        <a:lstStyle/>
        <a:p>
          <a:endParaRPr lang="en-US"/>
        </a:p>
      </dgm:t>
    </dgm:pt>
    <dgm:pt modelId="{EF719703-6FCA-4F54-8E5E-5B0EA7A251BD}" type="sibTrans" cxnId="{02EFD1A9-0072-4104-AF76-5F3614607727}">
      <dgm:prSet/>
      <dgm:spPr/>
      <dgm:t>
        <a:bodyPr/>
        <a:lstStyle/>
        <a:p>
          <a:endParaRPr lang="en-US"/>
        </a:p>
      </dgm:t>
    </dgm:pt>
    <dgm:pt modelId="{F43B6256-BA2A-467A-9DE0-C921EF6E5D54}">
      <dgm:prSet custT="1"/>
      <dgm:spPr/>
      <dgm:t>
        <a:bodyPr/>
        <a:lstStyle/>
        <a:p>
          <a:r>
            <a:rPr lang="en-US" sz="1200" baseline="0" dirty="0"/>
            <a:t>New-</a:t>
          </a:r>
          <a:r>
            <a:rPr lang="en-US" sz="1200" baseline="0" dirty="0" err="1"/>
            <a:t>AzSqlServer</a:t>
          </a:r>
          <a:endParaRPr lang="en-US" sz="1200" dirty="0"/>
        </a:p>
      </dgm:t>
    </dgm:pt>
    <dgm:pt modelId="{201F84C2-D74F-4506-8BB5-BECA7732031E}" type="parTrans" cxnId="{28CA8A09-6F1F-4DF7-9EAC-21AC78BCDFAF}">
      <dgm:prSet/>
      <dgm:spPr/>
      <dgm:t>
        <a:bodyPr/>
        <a:lstStyle/>
        <a:p>
          <a:endParaRPr lang="en-US"/>
        </a:p>
      </dgm:t>
    </dgm:pt>
    <dgm:pt modelId="{9D7A9C5B-AFA4-4031-907A-660341407097}" type="sibTrans" cxnId="{28CA8A09-6F1F-4DF7-9EAC-21AC78BCDFAF}">
      <dgm:prSet/>
      <dgm:spPr/>
      <dgm:t>
        <a:bodyPr/>
        <a:lstStyle/>
        <a:p>
          <a:endParaRPr lang="en-US"/>
        </a:p>
      </dgm:t>
    </dgm:pt>
    <dgm:pt modelId="{89C1DA00-1F18-4FA7-9D5F-50D12B7E544D}">
      <dgm:prSet custT="1"/>
      <dgm:spPr/>
      <dgm:t>
        <a:bodyPr/>
        <a:lstStyle/>
        <a:p>
          <a:r>
            <a:rPr lang="en-US" sz="1200" baseline="0" dirty="0"/>
            <a:t>Get-</a:t>
          </a:r>
          <a:r>
            <a:rPr lang="en-US" sz="1200" baseline="0" dirty="0" err="1"/>
            <a:t>AzSqlServer</a:t>
          </a:r>
          <a:endParaRPr lang="en-US" sz="1200" dirty="0"/>
        </a:p>
      </dgm:t>
    </dgm:pt>
    <dgm:pt modelId="{583C8A4D-C67F-43B9-A682-475AD250FC51}" type="parTrans" cxnId="{855B8688-E711-43D9-A72F-DADE89691A87}">
      <dgm:prSet/>
      <dgm:spPr/>
      <dgm:t>
        <a:bodyPr/>
        <a:lstStyle/>
        <a:p>
          <a:endParaRPr lang="en-US"/>
        </a:p>
      </dgm:t>
    </dgm:pt>
    <dgm:pt modelId="{57840C5B-73C3-4453-AD09-2C1D8CA10007}" type="sibTrans" cxnId="{855B8688-E711-43D9-A72F-DADE89691A87}">
      <dgm:prSet/>
      <dgm:spPr/>
      <dgm:t>
        <a:bodyPr/>
        <a:lstStyle/>
        <a:p>
          <a:endParaRPr lang="en-US"/>
        </a:p>
      </dgm:t>
    </dgm:pt>
    <dgm:pt modelId="{24E1FCFB-A3B7-443A-9AAF-CA9B43C495E8}">
      <dgm:prSet custT="1"/>
      <dgm:spPr/>
      <dgm:t>
        <a:bodyPr/>
        <a:lstStyle/>
        <a:p>
          <a:r>
            <a:rPr lang="en-US" sz="1200" baseline="0" dirty="0"/>
            <a:t>Set-</a:t>
          </a:r>
          <a:r>
            <a:rPr lang="en-US" sz="1200" baseline="0" dirty="0" err="1"/>
            <a:t>AzSqlServer</a:t>
          </a:r>
          <a:endParaRPr lang="en-US" sz="1200" dirty="0"/>
        </a:p>
      </dgm:t>
    </dgm:pt>
    <dgm:pt modelId="{A93B7718-23AA-49AE-8986-122D561F4F09}" type="parTrans" cxnId="{15DB196C-3A0C-46E1-81F5-5A3376790C96}">
      <dgm:prSet/>
      <dgm:spPr/>
      <dgm:t>
        <a:bodyPr/>
        <a:lstStyle/>
        <a:p>
          <a:endParaRPr lang="en-US"/>
        </a:p>
      </dgm:t>
    </dgm:pt>
    <dgm:pt modelId="{78A01C0A-B512-40BC-85FA-ED7D60B3D088}" type="sibTrans" cxnId="{15DB196C-3A0C-46E1-81F5-5A3376790C96}">
      <dgm:prSet/>
      <dgm:spPr/>
      <dgm:t>
        <a:bodyPr/>
        <a:lstStyle/>
        <a:p>
          <a:endParaRPr lang="en-US"/>
        </a:p>
      </dgm:t>
    </dgm:pt>
    <dgm:pt modelId="{D1C11667-C2B0-47FC-BD01-068376DD6BD0}">
      <dgm:prSet custT="1"/>
      <dgm:spPr/>
      <dgm:t>
        <a:bodyPr/>
        <a:lstStyle/>
        <a:p>
          <a:r>
            <a:rPr lang="en-US" sz="1200" baseline="0" dirty="0"/>
            <a:t>Remove-</a:t>
          </a:r>
          <a:r>
            <a:rPr lang="en-US" sz="1200" baseline="0" dirty="0" err="1"/>
            <a:t>AzSqlServer</a:t>
          </a:r>
          <a:endParaRPr lang="en-US" sz="1200" dirty="0"/>
        </a:p>
      </dgm:t>
    </dgm:pt>
    <dgm:pt modelId="{5171C1B7-1301-4C2A-A79A-46C19ABECC2A}" type="parTrans" cxnId="{A31E913D-CD88-415F-BFCD-93728969E2FE}">
      <dgm:prSet/>
      <dgm:spPr/>
      <dgm:t>
        <a:bodyPr/>
        <a:lstStyle/>
        <a:p>
          <a:endParaRPr lang="en-US"/>
        </a:p>
      </dgm:t>
    </dgm:pt>
    <dgm:pt modelId="{30AB4266-2D47-4304-A00F-8F9EF0BE1D25}" type="sibTrans" cxnId="{A31E913D-CD88-415F-BFCD-93728969E2FE}">
      <dgm:prSet/>
      <dgm:spPr/>
      <dgm:t>
        <a:bodyPr/>
        <a:lstStyle/>
        <a:p>
          <a:endParaRPr lang="en-US"/>
        </a:p>
      </dgm:t>
    </dgm:pt>
    <dgm:pt modelId="{BB6E9B4A-B880-4EBB-8CA8-8C55D997EC5A}">
      <dgm:prSet custT="1"/>
      <dgm:spPr/>
      <dgm:t>
        <a:bodyPr/>
        <a:lstStyle/>
        <a:p>
          <a:r>
            <a:rPr lang="en-US" sz="1200" baseline="0" dirty="0"/>
            <a:t>New-</a:t>
          </a:r>
          <a:r>
            <a:rPr lang="en-US" sz="1200" baseline="0" dirty="0" err="1"/>
            <a:t>AzSqlServerFirewallRule</a:t>
          </a:r>
          <a:endParaRPr lang="en-US" sz="1200" dirty="0"/>
        </a:p>
      </dgm:t>
    </dgm:pt>
    <dgm:pt modelId="{D66DAB3D-54A2-47AF-A375-FD55F30C8AF3}" type="parTrans" cxnId="{E72147C6-F273-4A3B-9CB1-117DD954F27B}">
      <dgm:prSet/>
      <dgm:spPr/>
      <dgm:t>
        <a:bodyPr/>
        <a:lstStyle/>
        <a:p>
          <a:endParaRPr lang="en-US"/>
        </a:p>
      </dgm:t>
    </dgm:pt>
    <dgm:pt modelId="{24F05813-1A8F-4697-A37C-309EFAB1D169}" type="sibTrans" cxnId="{E72147C6-F273-4A3B-9CB1-117DD954F27B}">
      <dgm:prSet/>
      <dgm:spPr/>
      <dgm:t>
        <a:bodyPr/>
        <a:lstStyle/>
        <a:p>
          <a:endParaRPr lang="en-US"/>
        </a:p>
      </dgm:t>
    </dgm:pt>
    <dgm:pt modelId="{F1ED14ED-CA85-43C8-ABF3-A48A9B280D77}">
      <dgm:prSet custT="1"/>
      <dgm:spPr/>
      <dgm:t>
        <a:bodyPr/>
        <a:lstStyle/>
        <a:p>
          <a:r>
            <a:rPr lang="en-US" sz="1200" baseline="0" dirty="0"/>
            <a:t>Get-</a:t>
          </a:r>
          <a:r>
            <a:rPr lang="en-US" sz="1200" baseline="0" dirty="0" err="1"/>
            <a:t>AzSqlServerFirewallRule</a:t>
          </a:r>
          <a:endParaRPr lang="en-US" sz="1200" dirty="0"/>
        </a:p>
      </dgm:t>
    </dgm:pt>
    <dgm:pt modelId="{3C6E1FF5-E270-4E0F-93D3-A120A40F0A2B}" type="parTrans" cxnId="{EE96CFCC-12DE-4B86-9123-64EA6D008FD6}">
      <dgm:prSet/>
      <dgm:spPr/>
      <dgm:t>
        <a:bodyPr/>
        <a:lstStyle/>
        <a:p>
          <a:endParaRPr lang="en-US"/>
        </a:p>
      </dgm:t>
    </dgm:pt>
    <dgm:pt modelId="{FEFBA4D1-F6E2-4F60-8956-E308956AC1FE}" type="sibTrans" cxnId="{EE96CFCC-12DE-4B86-9123-64EA6D008FD6}">
      <dgm:prSet/>
      <dgm:spPr/>
      <dgm:t>
        <a:bodyPr/>
        <a:lstStyle/>
        <a:p>
          <a:endParaRPr lang="en-US"/>
        </a:p>
      </dgm:t>
    </dgm:pt>
    <dgm:pt modelId="{8664CEB9-CEE0-4B89-90AE-F6A82DD9F80E}">
      <dgm:prSet custT="1"/>
      <dgm:spPr/>
      <dgm:t>
        <a:bodyPr/>
        <a:lstStyle/>
        <a:p>
          <a:r>
            <a:rPr lang="en-US" sz="1200" baseline="0" dirty="0"/>
            <a:t>Set-</a:t>
          </a:r>
          <a:r>
            <a:rPr lang="en-US" sz="1200" baseline="0" dirty="0" err="1"/>
            <a:t>AzSqlServerFirewallRule</a:t>
          </a:r>
          <a:endParaRPr lang="en-US" sz="1200" dirty="0"/>
        </a:p>
      </dgm:t>
    </dgm:pt>
    <dgm:pt modelId="{3BF927A8-AECA-43B4-A3C6-9BD28EE1B077}" type="parTrans" cxnId="{7E3FBF93-34B9-4486-AB0E-BEE045FC52E6}">
      <dgm:prSet/>
      <dgm:spPr/>
      <dgm:t>
        <a:bodyPr/>
        <a:lstStyle/>
        <a:p>
          <a:endParaRPr lang="en-US"/>
        </a:p>
      </dgm:t>
    </dgm:pt>
    <dgm:pt modelId="{2132B1F0-3755-4D41-B272-338234232619}" type="sibTrans" cxnId="{7E3FBF93-34B9-4486-AB0E-BEE045FC52E6}">
      <dgm:prSet/>
      <dgm:spPr/>
      <dgm:t>
        <a:bodyPr/>
        <a:lstStyle/>
        <a:p>
          <a:endParaRPr lang="en-US"/>
        </a:p>
      </dgm:t>
    </dgm:pt>
    <dgm:pt modelId="{300F9C1E-EEFD-4055-BFCA-5BE4CAF9A55A}">
      <dgm:prSet custT="1"/>
      <dgm:spPr/>
      <dgm:t>
        <a:bodyPr/>
        <a:lstStyle/>
        <a:p>
          <a:r>
            <a:rPr lang="en-US" sz="1200" baseline="0" dirty="0"/>
            <a:t>Remove-</a:t>
          </a:r>
          <a:r>
            <a:rPr lang="en-US" sz="1200" baseline="0" dirty="0" err="1"/>
            <a:t>AzSqlServerFirewallRule</a:t>
          </a:r>
          <a:endParaRPr lang="en-US" sz="1200" dirty="0"/>
        </a:p>
      </dgm:t>
    </dgm:pt>
    <dgm:pt modelId="{11A6D5AC-0645-4B27-A803-A4100EE671D3}" type="parTrans" cxnId="{BDD2E457-5C12-4DF2-838B-4408EB175C78}">
      <dgm:prSet/>
      <dgm:spPr/>
      <dgm:t>
        <a:bodyPr/>
        <a:lstStyle/>
        <a:p>
          <a:endParaRPr lang="en-US"/>
        </a:p>
      </dgm:t>
    </dgm:pt>
    <dgm:pt modelId="{A1B88F88-030B-4826-B2E0-258C4A09E135}" type="sibTrans" cxnId="{BDD2E457-5C12-4DF2-838B-4408EB175C78}">
      <dgm:prSet/>
      <dgm:spPr/>
      <dgm:t>
        <a:bodyPr/>
        <a:lstStyle/>
        <a:p>
          <a:endParaRPr lang="en-US"/>
        </a:p>
      </dgm:t>
    </dgm:pt>
    <dgm:pt modelId="{85108F0B-ECE1-422C-8842-23086013FCDB}">
      <dgm:prSet custT="1"/>
      <dgm:spPr/>
      <dgm:t>
        <a:bodyPr/>
        <a:lstStyle/>
        <a:p>
          <a:r>
            <a:rPr lang="en-US" sz="1200" baseline="0" dirty="0"/>
            <a:t>New-</a:t>
          </a:r>
          <a:r>
            <a:rPr lang="en-US" sz="1200" baseline="0" dirty="0" err="1"/>
            <a:t>AzSqlServerVirtualNetworkRule</a:t>
          </a:r>
          <a:endParaRPr lang="en-US" sz="1200" dirty="0"/>
        </a:p>
      </dgm:t>
    </dgm:pt>
    <dgm:pt modelId="{522BE3E4-8003-4342-9172-7495BE53C456}" type="parTrans" cxnId="{4803E790-4921-4578-8BEF-7243AA2A987B}">
      <dgm:prSet/>
      <dgm:spPr/>
      <dgm:t>
        <a:bodyPr/>
        <a:lstStyle/>
        <a:p>
          <a:endParaRPr lang="en-US"/>
        </a:p>
      </dgm:t>
    </dgm:pt>
    <dgm:pt modelId="{F27F0C43-1B6C-400F-9BA5-D4C4A0CCB999}" type="sibTrans" cxnId="{4803E790-4921-4578-8BEF-7243AA2A987B}">
      <dgm:prSet/>
      <dgm:spPr/>
      <dgm:t>
        <a:bodyPr/>
        <a:lstStyle/>
        <a:p>
          <a:endParaRPr lang="en-US"/>
        </a:p>
      </dgm:t>
    </dgm:pt>
    <dgm:pt modelId="{7AC8E39F-8520-4BF9-AB2E-FD3769F4A70E}" type="pres">
      <dgm:prSet presAssocID="{8197DDD4-22FD-4094-92B6-75A4EC4E968B}" presName="linear" presStyleCnt="0">
        <dgm:presLayoutVars>
          <dgm:animLvl val="lvl"/>
          <dgm:resizeHandles val="exact"/>
        </dgm:presLayoutVars>
      </dgm:prSet>
      <dgm:spPr/>
    </dgm:pt>
    <dgm:pt modelId="{7BF474B1-434B-4920-B640-F49C92249B3A}" type="pres">
      <dgm:prSet presAssocID="{FC36F688-6F8D-42B9-9B58-51320771B1B5}" presName="parentText" presStyleLbl="node1" presStyleIdx="0" presStyleCnt="1">
        <dgm:presLayoutVars>
          <dgm:chMax val="0"/>
          <dgm:bulletEnabled val="1"/>
        </dgm:presLayoutVars>
      </dgm:prSet>
      <dgm:spPr/>
    </dgm:pt>
    <dgm:pt modelId="{7D83BECA-C0F5-44B9-996A-8DC5D6F24817}" type="pres">
      <dgm:prSet presAssocID="{FC36F688-6F8D-42B9-9B58-51320771B1B5}" presName="childText" presStyleLbl="revTx" presStyleIdx="0" presStyleCnt="1">
        <dgm:presLayoutVars>
          <dgm:bulletEnabled val="1"/>
        </dgm:presLayoutVars>
      </dgm:prSet>
      <dgm:spPr/>
    </dgm:pt>
  </dgm:ptLst>
  <dgm:cxnLst>
    <dgm:cxn modelId="{28CA8A09-6F1F-4DF7-9EAC-21AC78BCDFAF}" srcId="{FC36F688-6F8D-42B9-9B58-51320771B1B5}" destId="{F43B6256-BA2A-467A-9DE0-C921EF6E5D54}" srcOrd="5" destOrd="0" parTransId="{201F84C2-D74F-4506-8BB5-BECA7732031E}" sibTransId="{9D7A9C5B-AFA4-4031-907A-660341407097}"/>
    <dgm:cxn modelId="{5BA1910E-E163-4BA2-BF9F-45E81190D4AE}" type="presOf" srcId="{89C1DA00-1F18-4FA7-9D5F-50D12B7E544D}" destId="{7D83BECA-C0F5-44B9-996A-8DC5D6F24817}" srcOrd="0" destOrd="6" presId="urn:microsoft.com/office/officeart/2005/8/layout/vList2"/>
    <dgm:cxn modelId="{B9CD9D1A-9207-4BE1-8209-AAAACFC416DD}" srcId="{FC36F688-6F8D-42B9-9B58-51320771B1B5}" destId="{AC67842F-102E-4E5E-9BBD-AEF6A401A8DA}" srcOrd="3" destOrd="0" parTransId="{08673B2C-4AD4-4D1F-B9A7-CB951CE28F9C}" sibTransId="{08B65A75-2863-43FB-9162-6AEFCE58DEB7}"/>
    <dgm:cxn modelId="{0C2A021F-EE11-4E8B-B2A2-FBEB92144713}" type="presOf" srcId="{85108F0B-ECE1-422C-8842-23086013FCDB}" destId="{7D83BECA-C0F5-44B9-996A-8DC5D6F24817}" srcOrd="0" destOrd="13" presId="urn:microsoft.com/office/officeart/2005/8/layout/vList2"/>
    <dgm:cxn modelId="{F1195224-3F60-48F3-855A-7C64F3772C81}" type="presOf" srcId="{2E87DB22-095B-4D58-9F65-D97D65091A71}" destId="{7D83BECA-C0F5-44B9-996A-8DC5D6F24817}" srcOrd="0" destOrd="0" presId="urn:microsoft.com/office/officeart/2005/8/layout/vList2"/>
    <dgm:cxn modelId="{C2623B26-A47F-4044-855F-9A7EBF8104E0}" type="presOf" srcId="{8664CEB9-CEE0-4B89-90AE-F6A82DD9F80E}" destId="{7D83BECA-C0F5-44B9-996A-8DC5D6F24817}" srcOrd="0" destOrd="11" presId="urn:microsoft.com/office/officeart/2005/8/layout/vList2"/>
    <dgm:cxn modelId="{4BA14529-8CA7-46E8-A1F5-BC77803C45C3}" srcId="{FC36F688-6F8D-42B9-9B58-51320771B1B5}" destId="{654698CC-4D1F-4015-BED2-85B4DC883147}" srcOrd="2" destOrd="0" parTransId="{3EC09850-63E7-471A-90F0-90C160DDD0AF}" sibTransId="{21FE33B3-09FF-431F-9A14-9F3F21B7CA93}"/>
    <dgm:cxn modelId="{65EABC30-B03A-43CF-8E10-19C22799E87B}" type="presOf" srcId="{300F9C1E-EEFD-4055-BFCA-5BE4CAF9A55A}" destId="{7D83BECA-C0F5-44B9-996A-8DC5D6F24817}" srcOrd="0" destOrd="12" presId="urn:microsoft.com/office/officeart/2005/8/layout/vList2"/>
    <dgm:cxn modelId="{485C4231-3EA9-499D-AE5F-7B1E9B9743DC}" type="presOf" srcId="{FC36F688-6F8D-42B9-9B58-51320771B1B5}" destId="{7BF474B1-434B-4920-B640-F49C92249B3A}" srcOrd="0" destOrd="0" presId="urn:microsoft.com/office/officeart/2005/8/layout/vList2"/>
    <dgm:cxn modelId="{07221233-50BE-4A56-8B33-098A5FE46045}" type="presOf" srcId="{2885F4AD-417F-4C0B-A7CD-1352D2E527A4}" destId="{7D83BECA-C0F5-44B9-996A-8DC5D6F24817}" srcOrd="0" destOrd="1" presId="urn:microsoft.com/office/officeart/2005/8/layout/vList2"/>
    <dgm:cxn modelId="{A31E913D-CD88-415F-BFCD-93728969E2FE}" srcId="{FC36F688-6F8D-42B9-9B58-51320771B1B5}" destId="{D1C11667-C2B0-47FC-BD01-068376DD6BD0}" srcOrd="8" destOrd="0" parTransId="{5171C1B7-1301-4C2A-A79A-46C19ABECC2A}" sibTransId="{30AB4266-2D47-4304-A00F-8F9EF0BE1D25}"/>
    <dgm:cxn modelId="{15DB196C-3A0C-46E1-81F5-5A3376790C96}" srcId="{FC36F688-6F8D-42B9-9B58-51320771B1B5}" destId="{24E1FCFB-A3B7-443A-9AAF-CA9B43C495E8}" srcOrd="7" destOrd="0" parTransId="{A93B7718-23AA-49AE-8986-122D561F4F09}" sibTransId="{78A01C0A-B512-40BC-85FA-ED7D60B3D088}"/>
    <dgm:cxn modelId="{4CBDC74C-F384-4064-A786-FE35ECC79341}" type="presOf" srcId="{654698CC-4D1F-4015-BED2-85B4DC883147}" destId="{7D83BECA-C0F5-44B9-996A-8DC5D6F24817}" srcOrd="0" destOrd="2" presId="urn:microsoft.com/office/officeart/2005/8/layout/vList2"/>
    <dgm:cxn modelId="{A10D3474-CB58-4887-8660-9EB0A8C5CEC5}" type="presOf" srcId="{24E1FCFB-A3B7-443A-9AAF-CA9B43C495E8}" destId="{7D83BECA-C0F5-44B9-996A-8DC5D6F24817}" srcOrd="0" destOrd="7" presId="urn:microsoft.com/office/officeart/2005/8/layout/vList2"/>
    <dgm:cxn modelId="{BDD2E457-5C12-4DF2-838B-4408EB175C78}" srcId="{FC36F688-6F8D-42B9-9B58-51320771B1B5}" destId="{300F9C1E-EEFD-4055-BFCA-5BE4CAF9A55A}" srcOrd="12" destOrd="0" parTransId="{11A6D5AC-0645-4B27-A803-A4100EE671D3}" sibTransId="{A1B88F88-030B-4826-B2E0-258C4A09E135}"/>
    <dgm:cxn modelId="{855B8688-E711-43D9-A72F-DADE89691A87}" srcId="{FC36F688-6F8D-42B9-9B58-51320771B1B5}" destId="{89C1DA00-1F18-4FA7-9D5F-50D12B7E544D}" srcOrd="6" destOrd="0" parTransId="{583C8A4D-C67F-43B9-A682-475AD250FC51}" sibTransId="{57840C5B-73C3-4453-AD09-2C1D8CA10007}"/>
    <dgm:cxn modelId="{E03DA98A-1DD5-491C-A11F-C05BC2BD04C4}" type="presOf" srcId="{D1C11667-C2B0-47FC-BD01-068376DD6BD0}" destId="{7D83BECA-C0F5-44B9-996A-8DC5D6F24817}" srcOrd="0" destOrd="8" presId="urn:microsoft.com/office/officeart/2005/8/layout/vList2"/>
    <dgm:cxn modelId="{4803E790-4921-4578-8BEF-7243AA2A987B}" srcId="{FC36F688-6F8D-42B9-9B58-51320771B1B5}" destId="{85108F0B-ECE1-422C-8842-23086013FCDB}" srcOrd="13" destOrd="0" parTransId="{522BE3E4-8003-4342-9172-7495BE53C456}" sibTransId="{F27F0C43-1B6C-400F-9BA5-D4C4A0CCB999}"/>
    <dgm:cxn modelId="{E9D99792-3100-4896-8F1D-BFFD23AA3F63}" type="presOf" srcId="{BB6E9B4A-B880-4EBB-8CA8-8C55D997EC5A}" destId="{7D83BECA-C0F5-44B9-996A-8DC5D6F24817}" srcOrd="0" destOrd="9" presId="urn:microsoft.com/office/officeart/2005/8/layout/vList2"/>
    <dgm:cxn modelId="{7E3FBF93-34B9-4486-AB0E-BEE045FC52E6}" srcId="{FC36F688-6F8D-42B9-9B58-51320771B1B5}" destId="{8664CEB9-CEE0-4B89-90AE-F6A82DD9F80E}" srcOrd="11" destOrd="0" parTransId="{3BF927A8-AECA-43B4-A3C6-9BD28EE1B077}" sibTransId="{2132B1F0-3755-4D41-B272-338234232619}"/>
    <dgm:cxn modelId="{9FED6E99-FCC7-47C8-AB32-64EA6F903F93}" type="presOf" srcId="{F1ED14ED-CA85-43C8-ABF3-A48A9B280D77}" destId="{7D83BECA-C0F5-44B9-996A-8DC5D6F24817}" srcOrd="0" destOrd="10" presId="urn:microsoft.com/office/officeart/2005/8/layout/vList2"/>
    <dgm:cxn modelId="{02EFD1A9-0072-4104-AF76-5F3614607727}" srcId="{FC36F688-6F8D-42B9-9B58-51320771B1B5}" destId="{4A3791DC-A304-4226-8D15-6E84CEA92FCD}" srcOrd="4" destOrd="0" parTransId="{0DB5B706-7264-4DC5-AB5B-4D294CA3C394}" sibTransId="{EF719703-6FCA-4F54-8E5E-5B0EA7A251BD}"/>
    <dgm:cxn modelId="{566FA1AC-C6A0-40B9-A6AA-3DCAE98A29C8}" type="presOf" srcId="{F43B6256-BA2A-467A-9DE0-C921EF6E5D54}" destId="{7D83BECA-C0F5-44B9-996A-8DC5D6F24817}" srcOrd="0" destOrd="5" presId="urn:microsoft.com/office/officeart/2005/8/layout/vList2"/>
    <dgm:cxn modelId="{C9FBD5C5-248C-4142-8E52-153457D59A9C}" srcId="{FC36F688-6F8D-42B9-9B58-51320771B1B5}" destId="{2E87DB22-095B-4D58-9F65-D97D65091A71}" srcOrd="0" destOrd="0" parTransId="{D25CF92C-EB6C-4F6E-AE71-D7F742AE1C11}" sibTransId="{E3A388FB-92BC-4478-BF0C-CF12F9220694}"/>
    <dgm:cxn modelId="{E72147C6-F273-4A3B-9CB1-117DD954F27B}" srcId="{FC36F688-6F8D-42B9-9B58-51320771B1B5}" destId="{BB6E9B4A-B880-4EBB-8CA8-8C55D997EC5A}" srcOrd="9" destOrd="0" parTransId="{D66DAB3D-54A2-47AF-A375-FD55F30C8AF3}" sibTransId="{24F05813-1A8F-4697-A37C-309EFAB1D169}"/>
    <dgm:cxn modelId="{713A4FC6-E6B2-4634-9F34-99658666587B}" type="presOf" srcId="{8197DDD4-22FD-4094-92B6-75A4EC4E968B}" destId="{7AC8E39F-8520-4BF9-AB2E-FD3769F4A70E}" srcOrd="0" destOrd="0" presId="urn:microsoft.com/office/officeart/2005/8/layout/vList2"/>
    <dgm:cxn modelId="{EE96CFCC-12DE-4B86-9123-64EA6D008FD6}" srcId="{FC36F688-6F8D-42B9-9B58-51320771B1B5}" destId="{F1ED14ED-CA85-43C8-ABF3-A48A9B280D77}" srcOrd="10" destOrd="0" parTransId="{3C6E1FF5-E270-4E0F-93D3-A120A40F0A2B}" sibTransId="{FEFBA4D1-F6E2-4F60-8956-E308956AC1FE}"/>
    <dgm:cxn modelId="{27E451EE-ACC2-4595-8DB8-CA9C33FB7C2C}" type="presOf" srcId="{AC67842F-102E-4E5E-9BBD-AEF6A401A8DA}" destId="{7D83BECA-C0F5-44B9-996A-8DC5D6F24817}" srcOrd="0" destOrd="3" presId="urn:microsoft.com/office/officeart/2005/8/layout/vList2"/>
    <dgm:cxn modelId="{894A4FEF-5271-48BE-BCC5-CE7E92FF16E1}" srcId="{FC36F688-6F8D-42B9-9B58-51320771B1B5}" destId="{2885F4AD-417F-4C0B-A7CD-1352D2E527A4}" srcOrd="1" destOrd="0" parTransId="{0CDB3A69-F5D9-4051-806E-93A34E15FEE6}" sibTransId="{0B57A456-BDE8-4473-BFA9-DAE5DB47A09C}"/>
    <dgm:cxn modelId="{764A72F1-E50E-4F6F-948F-A2FDD00203E6}" type="presOf" srcId="{4A3791DC-A304-4226-8D15-6E84CEA92FCD}" destId="{7D83BECA-C0F5-44B9-996A-8DC5D6F24817}" srcOrd="0" destOrd="4" presId="urn:microsoft.com/office/officeart/2005/8/layout/vList2"/>
    <dgm:cxn modelId="{9BED92F1-19CA-4ED5-AE7E-5E99C14E76FF}" srcId="{8197DDD4-22FD-4094-92B6-75A4EC4E968B}" destId="{FC36F688-6F8D-42B9-9B58-51320771B1B5}" srcOrd="0" destOrd="0" parTransId="{A70EB970-70B6-4D9D-8B4E-626FCB8AB6CD}" sibTransId="{720352B9-6E4A-4498-9641-A894E442A6C6}"/>
    <dgm:cxn modelId="{DB0C7650-36ED-4561-9B4F-A9A3FB717605}" type="presParOf" srcId="{7AC8E39F-8520-4BF9-AB2E-FD3769F4A70E}" destId="{7BF474B1-434B-4920-B640-F49C92249B3A}" srcOrd="0" destOrd="0" presId="urn:microsoft.com/office/officeart/2005/8/layout/vList2"/>
    <dgm:cxn modelId="{80F527D3-D6EA-405F-9DC4-A7F8BFA4B8A8}" type="presParOf" srcId="{7AC8E39F-8520-4BF9-AB2E-FD3769F4A70E}" destId="{7D83BECA-C0F5-44B9-996A-8DC5D6F24817}" srcOrd="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53DED34-224F-4927-859A-7684FAA9DA48}" type="doc">
      <dgm:prSet loTypeId="urn:microsoft.com/office/officeart/2005/8/layout/vList2" loCatId="list" qsTypeId="urn:microsoft.com/office/officeart/2005/8/quickstyle/simple1" qsCatId="simple" csTypeId="urn:microsoft.com/office/officeart/2005/8/colors/colorful1" csCatId="colorful"/>
      <dgm:spPr/>
      <dgm:t>
        <a:bodyPr/>
        <a:lstStyle/>
        <a:p>
          <a:endParaRPr lang="en-US"/>
        </a:p>
      </dgm:t>
    </dgm:pt>
    <dgm:pt modelId="{02A74CED-0E17-49C3-9FF5-865EFB6AE578}">
      <dgm:prSet custT="1"/>
      <dgm:spPr/>
      <dgm:t>
        <a:bodyPr/>
        <a:lstStyle/>
        <a:p>
          <a:r>
            <a:rPr lang="en-US" sz="2000" b="1" baseline="0" dirty="0"/>
            <a:t>Azure CLI</a:t>
          </a:r>
          <a:endParaRPr lang="en-US" sz="2000" dirty="0"/>
        </a:p>
      </dgm:t>
    </dgm:pt>
    <dgm:pt modelId="{97992C7D-C73A-4165-B216-F6F3AFB4B323}" type="parTrans" cxnId="{7473BADC-95F8-4680-9741-9286D1C67692}">
      <dgm:prSet/>
      <dgm:spPr/>
      <dgm:t>
        <a:bodyPr/>
        <a:lstStyle/>
        <a:p>
          <a:endParaRPr lang="en-US"/>
        </a:p>
      </dgm:t>
    </dgm:pt>
    <dgm:pt modelId="{3BE80D99-5042-45A4-BFB1-27C0B4B50024}" type="sibTrans" cxnId="{7473BADC-95F8-4680-9741-9286D1C67692}">
      <dgm:prSet/>
      <dgm:spPr/>
      <dgm:t>
        <a:bodyPr/>
        <a:lstStyle/>
        <a:p>
          <a:endParaRPr lang="en-US"/>
        </a:p>
      </dgm:t>
    </dgm:pt>
    <dgm:pt modelId="{898C9F10-A384-43DD-A994-87A69F47DCAC}">
      <dgm:prSet custT="1"/>
      <dgm:spPr/>
      <dgm:t>
        <a:bodyPr/>
        <a:lstStyle/>
        <a:p>
          <a:r>
            <a:rPr lang="en-US" sz="1200" baseline="0" dirty="0" err="1"/>
            <a:t>az</a:t>
          </a:r>
          <a:r>
            <a:rPr lang="en-US" sz="1200" baseline="0" dirty="0"/>
            <a:t> </a:t>
          </a:r>
          <a:r>
            <a:rPr lang="en-US" sz="1200" baseline="0" dirty="0" err="1"/>
            <a:t>sql</a:t>
          </a:r>
          <a:r>
            <a:rPr lang="en-US" sz="1200" baseline="0" dirty="0"/>
            <a:t> </a:t>
          </a:r>
          <a:r>
            <a:rPr lang="en-US" sz="1200" baseline="0" dirty="0" err="1"/>
            <a:t>db</a:t>
          </a:r>
          <a:r>
            <a:rPr lang="en-US" sz="1200" baseline="0" dirty="0"/>
            <a:t> create</a:t>
          </a:r>
          <a:endParaRPr lang="en-US" sz="1200" dirty="0"/>
        </a:p>
      </dgm:t>
    </dgm:pt>
    <dgm:pt modelId="{616A3DB6-23AC-47E8-808A-DE3D5F438C14}" type="parTrans" cxnId="{2101E328-AB82-4D9F-90B9-613D3D07A152}">
      <dgm:prSet/>
      <dgm:spPr/>
      <dgm:t>
        <a:bodyPr/>
        <a:lstStyle/>
        <a:p>
          <a:endParaRPr lang="en-US"/>
        </a:p>
      </dgm:t>
    </dgm:pt>
    <dgm:pt modelId="{82F9C245-0FAA-4497-B18D-888F70DFC13B}" type="sibTrans" cxnId="{2101E328-AB82-4D9F-90B9-613D3D07A152}">
      <dgm:prSet/>
      <dgm:spPr/>
      <dgm:t>
        <a:bodyPr/>
        <a:lstStyle/>
        <a:p>
          <a:endParaRPr lang="en-US"/>
        </a:p>
      </dgm:t>
    </dgm:pt>
    <dgm:pt modelId="{7792A2CA-C6FA-410D-AF4F-15B47C258905}">
      <dgm:prSet custT="1"/>
      <dgm:spPr/>
      <dgm:t>
        <a:bodyPr/>
        <a:lstStyle/>
        <a:p>
          <a:r>
            <a:rPr lang="en-US" sz="1200" baseline="0" dirty="0" err="1"/>
            <a:t>az</a:t>
          </a:r>
          <a:r>
            <a:rPr lang="en-US" sz="1200" baseline="0" dirty="0"/>
            <a:t> </a:t>
          </a:r>
          <a:r>
            <a:rPr lang="en-US" sz="1200" baseline="0" dirty="0" err="1"/>
            <a:t>sql</a:t>
          </a:r>
          <a:r>
            <a:rPr lang="en-US" sz="1200" baseline="0" dirty="0"/>
            <a:t> </a:t>
          </a:r>
          <a:r>
            <a:rPr lang="en-US" sz="1200" baseline="0" dirty="0" err="1"/>
            <a:t>db</a:t>
          </a:r>
          <a:r>
            <a:rPr lang="en-US" sz="1200" baseline="0" dirty="0"/>
            <a:t> list</a:t>
          </a:r>
          <a:endParaRPr lang="en-US" sz="1200" dirty="0"/>
        </a:p>
      </dgm:t>
    </dgm:pt>
    <dgm:pt modelId="{6387C026-FB66-4AAF-B7A1-BC1C5C9118A7}" type="parTrans" cxnId="{5092D6D1-9580-4959-B8F5-FADD9FB5F46B}">
      <dgm:prSet/>
      <dgm:spPr/>
      <dgm:t>
        <a:bodyPr/>
        <a:lstStyle/>
        <a:p>
          <a:endParaRPr lang="en-US"/>
        </a:p>
      </dgm:t>
    </dgm:pt>
    <dgm:pt modelId="{DDE50C3D-2C7C-4461-9C6A-D49407B5373E}" type="sibTrans" cxnId="{5092D6D1-9580-4959-B8F5-FADD9FB5F46B}">
      <dgm:prSet/>
      <dgm:spPr/>
      <dgm:t>
        <a:bodyPr/>
        <a:lstStyle/>
        <a:p>
          <a:endParaRPr lang="en-US"/>
        </a:p>
      </dgm:t>
    </dgm:pt>
    <dgm:pt modelId="{A3DC7AEF-4E98-45C3-AA4E-973F3C57AEA5}">
      <dgm:prSet custT="1"/>
      <dgm:spPr/>
      <dgm:t>
        <a:bodyPr/>
        <a:lstStyle/>
        <a:p>
          <a:r>
            <a:rPr lang="en-US" sz="1200" baseline="0" dirty="0" err="1"/>
            <a:t>az</a:t>
          </a:r>
          <a:r>
            <a:rPr lang="en-US" sz="1200" baseline="0" dirty="0"/>
            <a:t> </a:t>
          </a:r>
          <a:r>
            <a:rPr lang="en-US" sz="1200" baseline="0" dirty="0" err="1"/>
            <a:t>sql</a:t>
          </a:r>
          <a:r>
            <a:rPr lang="en-US" sz="1200" baseline="0" dirty="0"/>
            <a:t> </a:t>
          </a:r>
          <a:r>
            <a:rPr lang="en-US" sz="1200" baseline="0" dirty="0" err="1"/>
            <a:t>db</a:t>
          </a:r>
          <a:r>
            <a:rPr lang="en-US" sz="1200" baseline="0" dirty="0"/>
            <a:t> list-editions</a:t>
          </a:r>
          <a:endParaRPr lang="en-US" sz="1200" dirty="0"/>
        </a:p>
      </dgm:t>
    </dgm:pt>
    <dgm:pt modelId="{DFF8E662-ED61-4321-B831-BFC398EF7A1E}" type="parTrans" cxnId="{FE88EEB3-ED11-4CE4-9B7F-8CBC1C7DB975}">
      <dgm:prSet/>
      <dgm:spPr/>
      <dgm:t>
        <a:bodyPr/>
        <a:lstStyle/>
        <a:p>
          <a:endParaRPr lang="en-US"/>
        </a:p>
      </dgm:t>
    </dgm:pt>
    <dgm:pt modelId="{3172AF8D-1232-40F9-B8F9-7B71F3FBB833}" type="sibTrans" cxnId="{FE88EEB3-ED11-4CE4-9B7F-8CBC1C7DB975}">
      <dgm:prSet/>
      <dgm:spPr/>
      <dgm:t>
        <a:bodyPr/>
        <a:lstStyle/>
        <a:p>
          <a:endParaRPr lang="en-US"/>
        </a:p>
      </dgm:t>
    </dgm:pt>
    <dgm:pt modelId="{A4134A33-8921-445D-B3EF-186DF83F0398}">
      <dgm:prSet custT="1"/>
      <dgm:spPr/>
      <dgm:t>
        <a:bodyPr/>
        <a:lstStyle/>
        <a:p>
          <a:r>
            <a:rPr lang="en-US" sz="1200" baseline="0" dirty="0" err="1"/>
            <a:t>az</a:t>
          </a:r>
          <a:r>
            <a:rPr lang="en-US" sz="1200" baseline="0" dirty="0"/>
            <a:t> </a:t>
          </a:r>
          <a:r>
            <a:rPr lang="en-US" sz="1200" baseline="0" dirty="0" err="1"/>
            <a:t>sql</a:t>
          </a:r>
          <a:r>
            <a:rPr lang="en-US" sz="1200" baseline="0" dirty="0"/>
            <a:t> </a:t>
          </a:r>
          <a:r>
            <a:rPr lang="en-US" sz="1200" baseline="0" dirty="0" err="1"/>
            <a:t>db</a:t>
          </a:r>
          <a:r>
            <a:rPr lang="en-US" sz="1200" baseline="0" dirty="0"/>
            <a:t> list-usages</a:t>
          </a:r>
          <a:endParaRPr lang="en-US" sz="1200" dirty="0"/>
        </a:p>
      </dgm:t>
    </dgm:pt>
    <dgm:pt modelId="{F5FF0B56-5BAF-4694-9F84-5BC028C37106}" type="parTrans" cxnId="{9FA194CB-6561-47ED-B062-33CBD5E3059E}">
      <dgm:prSet/>
      <dgm:spPr/>
      <dgm:t>
        <a:bodyPr/>
        <a:lstStyle/>
        <a:p>
          <a:endParaRPr lang="en-US"/>
        </a:p>
      </dgm:t>
    </dgm:pt>
    <dgm:pt modelId="{70E20C2E-D2FE-4E71-8E92-1EFCB8E79BC0}" type="sibTrans" cxnId="{9FA194CB-6561-47ED-B062-33CBD5E3059E}">
      <dgm:prSet/>
      <dgm:spPr/>
      <dgm:t>
        <a:bodyPr/>
        <a:lstStyle/>
        <a:p>
          <a:endParaRPr lang="en-US"/>
        </a:p>
      </dgm:t>
    </dgm:pt>
    <dgm:pt modelId="{E8A305DC-1809-4AB3-98C4-C0361041F417}">
      <dgm:prSet custT="1"/>
      <dgm:spPr/>
      <dgm:t>
        <a:bodyPr/>
        <a:lstStyle/>
        <a:p>
          <a:r>
            <a:rPr lang="en-US" sz="1200" baseline="0" dirty="0" err="1"/>
            <a:t>az</a:t>
          </a:r>
          <a:r>
            <a:rPr lang="en-US" sz="1200" baseline="0" dirty="0"/>
            <a:t> </a:t>
          </a:r>
          <a:r>
            <a:rPr lang="en-US" sz="1200" baseline="0" dirty="0" err="1"/>
            <a:t>sql</a:t>
          </a:r>
          <a:r>
            <a:rPr lang="en-US" sz="1200" baseline="0" dirty="0"/>
            <a:t> </a:t>
          </a:r>
          <a:r>
            <a:rPr lang="en-US" sz="1200" baseline="0" dirty="0" err="1"/>
            <a:t>db</a:t>
          </a:r>
          <a:r>
            <a:rPr lang="en-US" sz="1200" baseline="0" dirty="0"/>
            <a:t> show</a:t>
          </a:r>
          <a:endParaRPr lang="en-US" sz="1200" dirty="0"/>
        </a:p>
      </dgm:t>
    </dgm:pt>
    <dgm:pt modelId="{8069FA72-216E-4986-AFB2-E8805A0671AC}" type="parTrans" cxnId="{998FD01C-09DA-4352-AD48-18308A520D43}">
      <dgm:prSet/>
      <dgm:spPr/>
      <dgm:t>
        <a:bodyPr/>
        <a:lstStyle/>
        <a:p>
          <a:endParaRPr lang="en-US"/>
        </a:p>
      </dgm:t>
    </dgm:pt>
    <dgm:pt modelId="{C85EF40A-0ADE-4E43-8E63-C3144A027EDF}" type="sibTrans" cxnId="{998FD01C-09DA-4352-AD48-18308A520D43}">
      <dgm:prSet/>
      <dgm:spPr/>
      <dgm:t>
        <a:bodyPr/>
        <a:lstStyle/>
        <a:p>
          <a:endParaRPr lang="en-US"/>
        </a:p>
      </dgm:t>
    </dgm:pt>
    <dgm:pt modelId="{3A93EA8E-ACA3-49A2-84B3-A2E1F558021D}">
      <dgm:prSet custT="1"/>
      <dgm:spPr/>
      <dgm:t>
        <a:bodyPr/>
        <a:lstStyle/>
        <a:p>
          <a:r>
            <a:rPr lang="en-US" sz="1200" baseline="0" dirty="0" err="1"/>
            <a:t>az</a:t>
          </a:r>
          <a:r>
            <a:rPr lang="en-US" sz="1200" baseline="0" dirty="0"/>
            <a:t> </a:t>
          </a:r>
          <a:r>
            <a:rPr lang="en-US" sz="1200" baseline="0" dirty="0" err="1"/>
            <a:t>sql</a:t>
          </a:r>
          <a:r>
            <a:rPr lang="en-US" sz="1200" baseline="0" dirty="0"/>
            <a:t> </a:t>
          </a:r>
          <a:r>
            <a:rPr lang="en-US" sz="1200" baseline="0" dirty="0" err="1"/>
            <a:t>db</a:t>
          </a:r>
          <a:r>
            <a:rPr lang="en-US" sz="1200" baseline="0" dirty="0"/>
            <a:t> update</a:t>
          </a:r>
          <a:endParaRPr lang="en-US" sz="1200" dirty="0"/>
        </a:p>
      </dgm:t>
    </dgm:pt>
    <dgm:pt modelId="{0B21F846-0595-4904-861D-25D52DA6C4CF}" type="parTrans" cxnId="{ADA3CF39-701F-49DB-A9D1-473D372D0ABC}">
      <dgm:prSet/>
      <dgm:spPr/>
      <dgm:t>
        <a:bodyPr/>
        <a:lstStyle/>
        <a:p>
          <a:endParaRPr lang="en-US"/>
        </a:p>
      </dgm:t>
    </dgm:pt>
    <dgm:pt modelId="{BA61585E-4850-4C99-8BF5-C5246F00BF57}" type="sibTrans" cxnId="{ADA3CF39-701F-49DB-A9D1-473D372D0ABC}">
      <dgm:prSet/>
      <dgm:spPr/>
      <dgm:t>
        <a:bodyPr/>
        <a:lstStyle/>
        <a:p>
          <a:endParaRPr lang="en-US"/>
        </a:p>
      </dgm:t>
    </dgm:pt>
    <dgm:pt modelId="{8210B145-A7E3-48FC-9788-BEC0A7755579}">
      <dgm:prSet custT="1"/>
      <dgm:spPr/>
      <dgm:t>
        <a:bodyPr/>
        <a:lstStyle/>
        <a:p>
          <a:r>
            <a:rPr lang="en-US" sz="1200" baseline="0" dirty="0" err="1"/>
            <a:t>az</a:t>
          </a:r>
          <a:r>
            <a:rPr lang="en-US" sz="1200" baseline="0" dirty="0"/>
            <a:t> </a:t>
          </a:r>
          <a:r>
            <a:rPr lang="en-US" sz="1200" baseline="0" dirty="0" err="1"/>
            <a:t>sql</a:t>
          </a:r>
          <a:r>
            <a:rPr lang="en-US" sz="1200" baseline="0" dirty="0"/>
            <a:t> </a:t>
          </a:r>
          <a:r>
            <a:rPr lang="en-US" sz="1200" baseline="0" dirty="0" err="1"/>
            <a:t>db</a:t>
          </a:r>
          <a:r>
            <a:rPr lang="en-US" sz="1200" baseline="0" dirty="0"/>
            <a:t> delete</a:t>
          </a:r>
          <a:endParaRPr lang="en-US" sz="1200" dirty="0"/>
        </a:p>
      </dgm:t>
    </dgm:pt>
    <dgm:pt modelId="{91B43E86-4233-4D3E-A781-F49C1EDD6698}" type="parTrans" cxnId="{94E99248-C8D7-46F0-8AB1-4BF4537949E3}">
      <dgm:prSet/>
      <dgm:spPr/>
      <dgm:t>
        <a:bodyPr/>
        <a:lstStyle/>
        <a:p>
          <a:endParaRPr lang="en-US"/>
        </a:p>
      </dgm:t>
    </dgm:pt>
    <dgm:pt modelId="{2F046EEA-DF59-4ACB-8A30-EF98CE471062}" type="sibTrans" cxnId="{94E99248-C8D7-46F0-8AB1-4BF4537949E3}">
      <dgm:prSet/>
      <dgm:spPr/>
      <dgm:t>
        <a:bodyPr/>
        <a:lstStyle/>
        <a:p>
          <a:endParaRPr lang="en-US"/>
        </a:p>
      </dgm:t>
    </dgm:pt>
    <dgm:pt modelId="{5C69A2C6-02D6-428F-AF06-48473543D448}">
      <dgm:prSet custT="1"/>
      <dgm:spPr/>
      <dgm:t>
        <a:bodyPr/>
        <a:lstStyle/>
        <a:p>
          <a:r>
            <a:rPr lang="en-US" sz="1200" baseline="0"/>
            <a:t>az group create</a:t>
          </a:r>
          <a:endParaRPr lang="en-US" sz="1200"/>
        </a:p>
      </dgm:t>
    </dgm:pt>
    <dgm:pt modelId="{C137979F-5B2B-4E79-ADC8-88ED12235E88}" type="parTrans" cxnId="{912A0BFB-EBD5-41EA-B05B-01C85D95DAB9}">
      <dgm:prSet/>
      <dgm:spPr/>
      <dgm:t>
        <a:bodyPr/>
        <a:lstStyle/>
        <a:p>
          <a:endParaRPr lang="en-US"/>
        </a:p>
      </dgm:t>
    </dgm:pt>
    <dgm:pt modelId="{9A87D627-B51C-4CA8-AC5B-C8B536C1A209}" type="sibTrans" cxnId="{912A0BFB-EBD5-41EA-B05B-01C85D95DAB9}">
      <dgm:prSet/>
      <dgm:spPr/>
      <dgm:t>
        <a:bodyPr/>
        <a:lstStyle/>
        <a:p>
          <a:endParaRPr lang="en-US"/>
        </a:p>
      </dgm:t>
    </dgm:pt>
    <dgm:pt modelId="{39755D4F-6994-4545-8AD1-E1718EACF4C7}">
      <dgm:prSet custT="1"/>
      <dgm:spPr/>
      <dgm:t>
        <a:bodyPr/>
        <a:lstStyle/>
        <a:p>
          <a:r>
            <a:rPr lang="en-US" sz="1200" baseline="0" dirty="0" err="1"/>
            <a:t>az</a:t>
          </a:r>
          <a:r>
            <a:rPr lang="en-US" sz="1200" baseline="0" dirty="0"/>
            <a:t> </a:t>
          </a:r>
          <a:r>
            <a:rPr lang="en-US" sz="1200" baseline="0" dirty="0" err="1"/>
            <a:t>sql</a:t>
          </a:r>
          <a:r>
            <a:rPr lang="en-US" sz="1200" baseline="0" dirty="0"/>
            <a:t> server create</a:t>
          </a:r>
          <a:endParaRPr lang="en-US" sz="1200" dirty="0"/>
        </a:p>
      </dgm:t>
    </dgm:pt>
    <dgm:pt modelId="{33A7E3EF-032F-4921-AC93-CE98FC157592}" type="parTrans" cxnId="{8960DFF3-9719-4CC8-8A4E-7BA8F276C174}">
      <dgm:prSet/>
      <dgm:spPr/>
      <dgm:t>
        <a:bodyPr/>
        <a:lstStyle/>
        <a:p>
          <a:endParaRPr lang="en-US"/>
        </a:p>
      </dgm:t>
    </dgm:pt>
    <dgm:pt modelId="{0A4F5E7D-E7D3-4F42-ACF5-856425961A0E}" type="sibTrans" cxnId="{8960DFF3-9719-4CC8-8A4E-7BA8F276C174}">
      <dgm:prSet/>
      <dgm:spPr/>
      <dgm:t>
        <a:bodyPr/>
        <a:lstStyle/>
        <a:p>
          <a:endParaRPr lang="en-US"/>
        </a:p>
      </dgm:t>
    </dgm:pt>
    <dgm:pt modelId="{6CFE1245-6108-44BC-ACE4-1B6824D03F90}">
      <dgm:prSet custT="1"/>
      <dgm:spPr/>
      <dgm:t>
        <a:bodyPr/>
        <a:lstStyle/>
        <a:p>
          <a:r>
            <a:rPr lang="en-US" sz="1200" baseline="0"/>
            <a:t>az sql server list</a:t>
          </a:r>
          <a:endParaRPr lang="en-US" sz="1200"/>
        </a:p>
      </dgm:t>
    </dgm:pt>
    <dgm:pt modelId="{3592674A-D098-41A7-8E04-0CADE69BDA8E}" type="parTrans" cxnId="{98BC7365-E0EE-4712-9241-B8F56F58B991}">
      <dgm:prSet/>
      <dgm:spPr/>
      <dgm:t>
        <a:bodyPr/>
        <a:lstStyle/>
        <a:p>
          <a:endParaRPr lang="en-US"/>
        </a:p>
      </dgm:t>
    </dgm:pt>
    <dgm:pt modelId="{173FB80D-CB8E-48D4-8B12-FDD7DC12FCF8}" type="sibTrans" cxnId="{98BC7365-E0EE-4712-9241-B8F56F58B991}">
      <dgm:prSet/>
      <dgm:spPr/>
      <dgm:t>
        <a:bodyPr/>
        <a:lstStyle/>
        <a:p>
          <a:endParaRPr lang="en-US"/>
        </a:p>
      </dgm:t>
    </dgm:pt>
    <dgm:pt modelId="{DC89275C-61C5-45B9-A6F3-5B6C6CC0185E}">
      <dgm:prSet custT="1"/>
      <dgm:spPr/>
      <dgm:t>
        <a:bodyPr/>
        <a:lstStyle/>
        <a:p>
          <a:r>
            <a:rPr lang="en-US" sz="1200" baseline="0" dirty="0" err="1"/>
            <a:t>az</a:t>
          </a:r>
          <a:r>
            <a:rPr lang="en-US" sz="1200" baseline="0" dirty="0"/>
            <a:t> </a:t>
          </a:r>
          <a:r>
            <a:rPr lang="en-US" sz="1200" baseline="0" dirty="0" err="1"/>
            <a:t>sql</a:t>
          </a:r>
          <a:r>
            <a:rPr lang="en-US" sz="1200" baseline="0" dirty="0"/>
            <a:t> server list-usages</a:t>
          </a:r>
          <a:endParaRPr lang="en-US" sz="1200" dirty="0"/>
        </a:p>
      </dgm:t>
    </dgm:pt>
    <dgm:pt modelId="{D700435C-CDF8-4B04-A476-4C19226DF57D}" type="parTrans" cxnId="{9F287C72-4FA8-4F9D-A3B7-1F750C811C90}">
      <dgm:prSet/>
      <dgm:spPr/>
      <dgm:t>
        <a:bodyPr/>
        <a:lstStyle/>
        <a:p>
          <a:endParaRPr lang="en-US"/>
        </a:p>
      </dgm:t>
    </dgm:pt>
    <dgm:pt modelId="{FFBA01A4-23C1-4985-A345-93BB30D5A072}" type="sibTrans" cxnId="{9F287C72-4FA8-4F9D-A3B7-1F750C811C90}">
      <dgm:prSet/>
      <dgm:spPr/>
      <dgm:t>
        <a:bodyPr/>
        <a:lstStyle/>
        <a:p>
          <a:endParaRPr lang="en-US"/>
        </a:p>
      </dgm:t>
    </dgm:pt>
    <dgm:pt modelId="{E7B3A700-7875-4F9D-855F-B4CA5F3A3F66}">
      <dgm:prSet custT="1"/>
      <dgm:spPr/>
      <dgm:t>
        <a:bodyPr/>
        <a:lstStyle/>
        <a:p>
          <a:r>
            <a:rPr lang="en-US" sz="1200" baseline="0"/>
            <a:t>az sql server show</a:t>
          </a:r>
          <a:endParaRPr lang="en-US" sz="1200"/>
        </a:p>
      </dgm:t>
    </dgm:pt>
    <dgm:pt modelId="{02F9F658-1BC1-425C-B641-67F1345DB438}" type="parTrans" cxnId="{EFF5B315-4567-42B7-86C2-D5294F32D339}">
      <dgm:prSet/>
      <dgm:spPr/>
      <dgm:t>
        <a:bodyPr/>
        <a:lstStyle/>
        <a:p>
          <a:endParaRPr lang="en-US"/>
        </a:p>
      </dgm:t>
    </dgm:pt>
    <dgm:pt modelId="{6FC062AC-DC64-4D5C-A835-88AAFF4B635D}" type="sibTrans" cxnId="{EFF5B315-4567-42B7-86C2-D5294F32D339}">
      <dgm:prSet/>
      <dgm:spPr/>
      <dgm:t>
        <a:bodyPr/>
        <a:lstStyle/>
        <a:p>
          <a:endParaRPr lang="en-US"/>
        </a:p>
      </dgm:t>
    </dgm:pt>
    <dgm:pt modelId="{C86C0CF4-E60C-4360-B946-8E09F6D99B68}">
      <dgm:prSet custT="1"/>
      <dgm:spPr/>
      <dgm:t>
        <a:bodyPr/>
        <a:lstStyle/>
        <a:p>
          <a:r>
            <a:rPr lang="en-US" sz="1200" baseline="0" dirty="0" err="1"/>
            <a:t>az</a:t>
          </a:r>
          <a:r>
            <a:rPr lang="en-US" sz="1200" baseline="0" dirty="0"/>
            <a:t> </a:t>
          </a:r>
          <a:r>
            <a:rPr lang="en-US" sz="1200" baseline="0" dirty="0" err="1"/>
            <a:t>sql</a:t>
          </a:r>
          <a:r>
            <a:rPr lang="en-US" sz="1200" baseline="0" dirty="0"/>
            <a:t> server update</a:t>
          </a:r>
          <a:endParaRPr lang="en-US" sz="1200" dirty="0"/>
        </a:p>
      </dgm:t>
    </dgm:pt>
    <dgm:pt modelId="{0DD33FBC-DA1B-44F2-8C75-A372CA228869}" type="parTrans" cxnId="{2194C766-A7E9-4D78-B7BE-C7143B82DF07}">
      <dgm:prSet/>
      <dgm:spPr/>
      <dgm:t>
        <a:bodyPr/>
        <a:lstStyle/>
        <a:p>
          <a:endParaRPr lang="en-US"/>
        </a:p>
      </dgm:t>
    </dgm:pt>
    <dgm:pt modelId="{E658CBC8-3C3D-4DC6-8795-19E5B9210800}" type="sibTrans" cxnId="{2194C766-A7E9-4D78-B7BE-C7143B82DF07}">
      <dgm:prSet/>
      <dgm:spPr/>
      <dgm:t>
        <a:bodyPr/>
        <a:lstStyle/>
        <a:p>
          <a:endParaRPr lang="en-US"/>
        </a:p>
      </dgm:t>
    </dgm:pt>
    <dgm:pt modelId="{E0B8795E-AA77-4ABD-A32B-E40F9ECA271D}">
      <dgm:prSet custT="1"/>
      <dgm:spPr/>
      <dgm:t>
        <a:bodyPr/>
        <a:lstStyle/>
        <a:p>
          <a:r>
            <a:rPr lang="en-US" sz="1200" baseline="0" dirty="0" err="1"/>
            <a:t>az</a:t>
          </a:r>
          <a:r>
            <a:rPr lang="en-US" sz="1200" baseline="0" dirty="0"/>
            <a:t> </a:t>
          </a:r>
          <a:r>
            <a:rPr lang="en-US" sz="1200" baseline="0" dirty="0" err="1"/>
            <a:t>sql</a:t>
          </a:r>
          <a:r>
            <a:rPr lang="en-US" sz="1200" baseline="0" dirty="0"/>
            <a:t> server delete</a:t>
          </a:r>
          <a:endParaRPr lang="en-US" sz="1200" dirty="0"/>
        </a:p>
      </dgm:t>
    </dgm:pt>
    <dgm:pt modelId="{B233BF48-80C2-457F-87C5-659D6737CC7F}" type="parTrans" cxnId="{55C3A2AB-F2F8-4768-9ED9-4BD282EF5D79}">
      <dgm:prSet/>
      <dgm:spPr/>
      <dgm:t>
        <a:bodyPr/>
        <a:lstStyle/>
        <a:p>
          <a:endParaRPr lang="en-US"/>
        </a:p>
      </dgm:t>
    </dgm:pt>
    <dgm:pt modelId="{72656204-7515-404C-AEA9-EF5063CB2E6F}" type="sibTrans" cxnId="{55C3A2AB-F2F8-4768-9ED9-4BD282EF5D79}">
      <dgm:prSet/>
      <dgm:spPr/>
      <dgm:t>
        <a:bodyPr/>
        <a:lstStyle/>
        <a:p>
          <a:endParaRPr lang="en-US"/>
        </a:p>
      </dgm:t>
    </dgm:pt>
    <dgm:pt modelId="{14FCF0CE-1511-4EBC-9D96-2951926D0A14}">
      <dgm:prSet custT="1"/>
      <dgm:spPr/>
      <dgm:t>
        <a:bodyPr/>
        <a:lstStyle/>
        <a:p>
          <a:r>
            <a:rPr lang="en-US" sz="1200" baseline="0" dirty="0" err="1"/>
            <a:t>az</a:t>
          </a:r>
          <a:r>
            <a:rPr lang="en-US" sz="1200" baseline="0" dirty="0"/>
            <a:t> </a:t>
          </a:r>
          <a:r>
            <a:rPr lang="en-US" sz="1200" baseline="0" dirty="0" err="1"/>
            <a:t>sql</a:t>
          </a:r>
          <a:r>
            <a:rPr lang="en-US" sz="1200" baseline="0" dirty="0"/>
            <a:t> server firewall-rule create</a:t>
          </a:r>
          <a:endParaRPr lang="en-US" sz="1200" dirty="0"/>
        </a:p>
      </dgm:t>
    </dgm:pt>
    <dgm:pt modelId="{CD3E117D-4B55-4C50-9507-9E7B4CD009F9}" type="parTrans" cxnId="{85317B07-3C29-455E-A409-F19A2731F9AD}">
      <dgm:prSet/>
      <dgm:spPr/>
      <dgm:t>
        <a:bodyPr/>
        <a:lstStyle/>
        <a:p>
          <a:endParaRPr lang="en-US"/>
        </a:p>
      </dgm:t>
    </dgm:pt>
    <dgm:pt modelId="{6DF12A40-34A8-40DA-838E-14DC5D0A42CB}" type="sibTrans" cxnId="{85317B07-3C29-455E-A409-F19A2731F9AD}">
      <dgm:prSet/>
      <dgm:spPr/>
      <dgm:t>
        <a:bodyPr/>
        <a:lstStyle/>
        <a:p>
          <a:endParaRPr lang="en-US"/>
        </a:p>
      </dgm:t>
    </dgm:pt>
    <dgm:pt modelId="{4D5B2582-EE52-4DB9-A99F-FDC7F25E0A75}">
      <dgm:prSet custT="1"/>
      <dgm:spPr/>
      <dgm:t>
        <a:bodyPr/>
        <a:lstStyle/>
        <a:p>
          <a:r>
            <a:rPr lang="en-US" sz="1200" baseline="0" dirty="0" err="1"/>
            <a:t>az</a:t>
          </a:r>
          <a:r>
            <a:rPr lang="en-US" sz="1200" baseline="0" dirty="0"/>
            <a:t> </a:t>
          </a:r>
          <a:r>
            <a:rPr lang="en-US" sz="1200" baseline="0" dirty="0" err="1"/>
            <a:t>sql</a:t>
          </a:r>
          <a:r>
            <a:rPr lang="en-US" sz="1200" baseline="0" dirty="0"/>
            <a:t> server firewall-rule list</a:t>
          </a:r>
          <a:endParaRPr lang="en-US" sz="1200" dirty="0"/>
        </a:p>
      </dgm:t>
    </dgm:pt>
    <dgm:pt modelId="{7876C23A-BD2E-4D55-9997-D56DEDBCC34B}" type="parTrans" cxnId="{3661C56D-CE4E-4CC4-A743-2BB4B2B2B35B}">
      <dgm:prSet/>
      <dgm:spPr/>
      <dgm:t>
        <a:bodyPr/>
        <a:lstStyle/>
        <a:p>
          <a:endParaRPr lang="en-US"/>
        </a:p>
      </dgm:t>
    </dgm:pt>
    <dgm:pt modelId="{3E013763-EFB6-4779-8DF2-5D573FAD85D4}" type="sibTrans" cxnId="{3661C56D-CE4E-4CC4-A743-2BB4B2B2B35B}">
      <dgm:prSet/>
      <dgm:spPr/>
      <dgm:t>
        <a:bodyPr/>
        <a:lstStyle/>
        <a:p>
          <a:endParaRPr lang="en-US"/>
        </a:p>
      </dgm:t>
    </dgm:pt>
    <dgm:pt modelId="{30EA1042-6699-433E-BED9-4BB0A5489DE8}">
      <dgm:prSet custT="1"/>
      <dgm:spPr/>
      <dgm:t>
        <a:bodyPr/>
        <a:lstStyle/>
        <a:p>
          <a:r>
            <a:rPr lang="en-US" sz="1200" baseline="0" dirty="0" err="1"/>
            <a:t>az</a:t>
          </a:r>
          <a:r>
            <a:rPr lang="en-US" sz="1200" baseline="0" dirty="0"/>
            <a:t> </a:t>
          </a:r>
          <a:r>
            <a:rPr lang="en-US" sz="1200" baseline="0" dirty="0" err="1"/>
            <a:t>sql</a:t>
          </a:r>
          <a:r>
            <a:rPr lang="en-US" sz="1200" baseline="0" dirty="0"/>
            <a:t> server firewall-rule show</a:t>
          </a:r>
          <a:endParaRPr lang="en-US" sz="1200" dirty="0"/>
        </a:p>
      </dgm:t>
    </dgm:pt>
    <dgm:pt modelId="{DA1C9854-83C3-43D4-BC7D-377AFA93ACBD}" type="parTrans" cxnId="{635AE4A5-89C9-4FED-B82B-86C1B966EA24}">
      <dgm:prSet/>
      <dgm:spPr/>
      <dgm:t>
        <a:bodyPr/>
        <a:lstStyle/>
        <a:p>
          <a:endParaRPr lang="en-US"/>
        </a:p>
      </dgm:t>
    </dgm:pt>
    <dgm:pt modelId="{AE951995-5E97-45FF-BC1F-39006AD8232F}" type="sibTrans" cxnId="{635AE4A5-89C9-4FED-B82B-86C1B966EA24}">
      <dgm:prSet/>
      <dgm:spPr/>
      <dgm:t>
        <a:bodyPr/>
        <a:lstStyle/>
        <a:p>
          <a:endParaRPr lang="en-US"/>
        </a:p>
      </dgm:t>
    </dgm:pt>
    <dgm:pt modelId="{765F58AB-EC59-4B71-87AD-4DE18E799C0B}">
      <dgm:prSet custT="1"/>
      <dgm:spPr/>
      <dgm:t>
        <a:bodyPr/>
        <a:lstStyle/>
        <a:p>
          <a:r>
            <a:rPr lang="en-US" sz="1200" baseline="0" dirty="0" err="1"/>
            <a:t>az</a:t>
          </a:r>
          <a:r>
            <a:rPr lang="en-US" sz="1200" baseline="0" dirty="0"/>
            <a:t> </a:t>
          </a:r>
          <a:r>
            <a:rPr lang="en-US" sz="1200" baseline="0" dirty="0" err="1"/>
            <a:t>sql</a:t>
          </a:r>
          <a:r>
            <a:rPr lang="en-US" sz="1200" baseline="0" dirty="0"/>
            <a:t> server firewall-rule update</a:t>
          </a:r>
          <a:endParaRPr lang="en-US" sz="1200" dirty="0"/>
        </a:p>
      </dgm:t>
    </dgm:pt>
    <dgm:pt modelId="{E7F4DC7C-C0A8-4B84-B493-5B9CDB6514C9}" type="parTrans" cxnId="{16912631-7578-4009-93AD-37B9546AE99D}">
      <dgm:prSet/>
      <dgm:spPr/>
      <dgm:t>
        <a:bodyPr/>
        <a:lstStyle/>
        <a:p>
          <a:endParaRPr lang="en-US"/>
        </a:p>
      </dgm:t>
    </dgm:pt>
    <dgm:pt modelId="{58F74668-D5ED-4DD0-8636-75EDCA1EDE68}" type="sibTrans" cxnId="{16912631-7578-4009-93AD-37B9546AE99D}">
      <dgm:prSet/>
      <dgm:spPr/>
      <dgm:t>
        <a:bodyPr/>
        <a:lstStyle/>
        <a:p>
          <a:endParaRPr lang="en-US"/>
        </a:p>
      </dgm:t>
    </dgm:pt>
    <dgm:pt modelId="{0C55B10B-FA33-4F51-9732-1B1C8F9E3E50}">
      <dgm:prSet custT="1"/>
      <dgm:spPr/>
      <dgm:t>
        <a:bodyPr/>
        <a:lstStyle/>
        <a:p>
          <a:r>
            <a:rPr lang="en-US" sz="1200" baseline="0" dirty="0" err="1"/>
            <a:t>az</a:t>
          </a:r>
          <a:r>
            <a:rPr lang="en-US" sz="1200" baseline="0" dirty="0"/>
            <a:t> </a:t>
          </a:r>
          <a:r>
            <a:rPr lang="en-US" sz="1200" baseline="0" dirty="0" err="1"/>
            <a:t>sql</a:t>
          </a:r>
          <a:r>
            <a:rPr lang="en-US" sz="1200" baseline="0" dirty="0"/>
            <a:t> server firewall-rule delete</a:t>
          </a:r>
          <a:endParaRPr lang="en-US" sz="1200" dirty="0"/>
        </a:p>
      </dgm:t>
    </dgm:pt>
    <dgm:pt modelId="{20EA8C00-B121-4F60-B763-CC4F7A2A41A9}" type="parTrans" cxnId="{3E9ACF82-C688-46B9-8CAD-82868C97A189}">
      <dgm:prSet/>
      <dgm:spPr/>
      <dgm:t>
        <a:bodyPr/>
        <a:lstStyle/>
        <a:p>
          <a:endParaRPr lang="en-US"/>
        </a:p>
      </dgm:t>
    </dgm:pt>
    <dgm:pt modelId="{ED035D97-51A7-4344-93C2-74BD0741F8B7}" type="sibTrans" cxnId="{3E9ACF82-C688-46B9-8CAD-82868C97A189}">
      <dgm:prSet/>
      <dgm:spPr/>
      <dgm:t>
        <a:bodyPr/>
        <a:lstStyle/>
        <a:p>
          <a:endParaRPr lang="en-US"/>
        </a:p>
      </dgm:t>
    </dgm:pt>
    <dgm:pt modelId="{0D73515F-F07F-49D8-94CA-46AAEBEDD052}" type="pres">
      <dgm:prSet presAssocID="{753DED34-224F-4927-859A-7684FAA9DA48}" presName="linear" presStyleCnt="0">
        <dgm:presLayoutVars>
          <dgm:animLvl val="lvl"/>
          <dgm:resizeHandles val="exact"/>
        </dgm:presLayoutVars>
      </dgm:prSet>
      <dgm:spPr/>
    </dgm:pt>
    <dgm:pt modelId="{BC1DC57E-FF9F-4181-83A0-E5004378376C}" type="pres">
      <dgm:prSet presAssocID="{02A74CED-0E17-49C3-9FF5-865EFB6AE578}" presName="parentText" presStyleLbl="node1" presStyleIdx="0" presStyleCnt="1">
        <dgm:presLayoutVars>
          <dgm:chMax val="0"/>
          <dgm:bulletEnabled val="1"/>
        </dgm:presLayoutVars>
      </dgm:prSet>
      <dgm:spPr/>
    </dgm:pt>
    <dgm:pt modelId="{80D51029-A43E-49DC-8826-7BCDA0A5C46E}" type="pres">
      <dgm:prSet presAssocID="{02A74CED-0E17-49C3-9FF5-865EFB6AE578}" presName="childText" presStyleLbl="revTx" presStyleIdx="0" presStyleCnt="1">
        <dgm:presLayoutVars>
          <dgm:bulletEnabled val="1"/>
        </dgm:presLayoutVars>
      </dgm:prSet>
      <dgm:spPr/>
    </dgm:pt>
  </dgm:ptLst>
  <dgm:cxnLst>
    <dgm:cxn modelId="{85317B07-3C29-455E-A409-F19A2731F9AD}" srcId="{02A74CED-0E17-49C3-9FF5-865EFB6AE578}" destId="{14FCF0CE-1511-4EBC-9D96-2951926D0A14}" srcOrd="14" destOrd="0" parTransId="{CD3E117D-4B55-4C50-9507-9E7B4CD009F9}" sibTransId="{6DF12A40-34A8-40DA-838E-14DC5D0A42CB}"/>
    <dgm:cxn modelId="{FD3A6312-7F60-4856-BB7C-E218D2CD4CAF}" type="presOf" srcId="{E0B8795E-AA77-4ABD-A32B-E40F9ECA271D}" destId="{80D51029-A43E-49DC-8826-7BCDA0A5C46E}" srcOrd="0" destOrd="13" presId="urn:microsoft.com/office/officeart/2005/8/layout/vList2"/>
    <dgm:cxn modelId="{EFF5B315-4567-42B7-86C2-D5294F32D339}" srcId="{02A74CED-0E17-49C3-9FF5-865EFB6AE578}" destId="{E7B3A700-7875-4F9D-855F-B4CA5F3A3F66}" srcOrd="11" destOrd="0" parTransId="{02F9F658-1BC1-425C-B641-67F1345DB438}" sibTransId="{6FC062AC-DC64-4D5C-A835-88AAFF4B635D}"/>
    <dgm:cxn modelId="{998FD01C-09DA-4352-AD48-18308A520D43}" srcId="{02A74CED-0E17-49C3-9FF5-865EFB6AE578}" destId="{E8A305DC-1809-4AB3-98C4-C0361041F417}" srcOrd="4" destOrd="0" parTransId="{8069FA72-216E-4986-AFB2-E8805A0671AC}" sibTransId="{C85EF40A-0ADE-4E43-8E63-C3144A027EDF}"/>
    <dgm:cxn modelId="{2101E328-AB82-4D9F-90B9-613D3D07A152}" srcId="{02A74CED-0E17-49C3-9FF5-865EFB6AE578}" destId="{898C9F10-A384-43DD-A994-87A69F47DCAC}" srcOrd="0" destOrd="0" parTransId="{616A3DB6-23AC-47E8-808A-DE3D5F438C14}" sibTransId="{82F9C245-0FAA-4497-B18D-888F70DFC13B}"/>
    <dgm:cxn modelId="{16912631-7578-4009-93AD-37B9546AE99D}" srcId="{02A74CED-0E17-49C3-9FF5-865EFB6AE578}" destId="{765F58AB-EC59-4B71-87AD-4DE18E799C0B}" srcOrd="17" destOrd="0" parTransId="{E7F4DC7C-C0A8-4B84-B493-5B9CDB6514C9}" sibTransId="{58F74668-D5ED-4DD0-8636-75EDCA1EDE68}"/>
    <dgm:cxn modelId="{ADA3CF39-701F-49DB-A9D1-473D372D0ABC}" srcId="{02A74CED-0E17-49C3-9FF5-865EFB6AE578}" destId="{3A93EA8E-ACA3-49A2-84B3-A2E1F558021D}" srcOrd="5" destOrd="0" parTransId="{0B21F846-0595-4904-861D-25D52DA6C4CF}" sibTransId="{BA61585E-4850-4C99-8BF5-C5246F00BF57}"/>
    <dgm:cxn modelId="{B420DC5C-B0C4-47AC-B754-ACDD35597C56}" type="presOf" srcId="{5C69A2C6-02D6-428F-AF06-48473543D448}" destId="{80D51029-A43E-49DC-8826-7BCDA0A5C46E}" srcOrd="0" destOrd="7" presId="urn:microsoft.com/office/officeart/2005/8/layout/vList2"/>
    <dgm:cxn modelId="{68758D5E-3757-492B-821E-8BE799F71171}" type="presOf" srcId="{39755D4F-6994-4545-8AD1-E1718EACF4C7}" destId="{80D51029-A43E-49DC-8826-7BCDA0A5C46E}" srcOrd="0" destOrd="8" presId="urn:microsoft.com/office/officeart/2005/8/layout/vList2"/>
    <dgm:cxn modelId="{293EDA41-958D-4478-9395-2FFBE8D35423}" type="presOf" srcId="{A3DC7AEF-4E98-45C3-AA4E-973F3C57AEA5}" destId="{80D51029-A43E-49DC-8826-7BCDA0A5C46E}" srcOrd="0" destOrd="2" presId="urn:microsoft.com/office/officeart/2005/8/layout/vList2"/>
    <dgm:cxn modelId="{98BC7365-E0EE-4712-9241-B8F56F58B991}" srcId="{02A74CED-0E17-49C3-9FF5-865EFB6AE578}" destId="{6CFE1245-6108-44BC-ACE4-1B6824D03F90}" srcOrd="9" destOrd="0" parTransId="{3592674A-D098-41A7-8E04-0CADE69BDA8E}" sibTransId="{173FB80D-CB8E-48D4-8B12-FDD7DC12FCF8}"/>
    <dgm:cxn modelId="{2194C766-A7E9-4D78-B7BE-C7143B82DF07}" srcId="{02A74CED-0E17-49C3-9FF5-865EFB6AE578}" destId="{C86C0CF4-E60C-4360-B946-8E09F6D99B68}" srcOrd="12" destOrd="0" parTransId="{0DD33FBC-DA1B-44F2-8C75-A372CA228869}" sibTransId="{E658CBC8-3C3D-4DC6-8795-19E5B9210800}"/>
    <dgm:cxn modelId="{94E99248-C8D7-46F0-8AB1-4BF4537949E3}" srcId="{02A74CED-0E17-49C3-9FF5-865EFB6AE578}" destId="{8210B145-A7E3-48FC-9788-BEC0A7755579}" srcOrd="6" destOrd="0" parTransId="{91B43E86-4233-4D3E-A781-F49C1EDD6698}" sibTransId="{2F046EEA-DF59-4ACB-8A30-EF98CE471062}"/>
    <dgm:cxn modelId="{3661C56D-CE4E-4CC4-A743-2BB4B2B2B35B}" srcId="{02A74CED-0E17-49C3-9FF5-865EFB6AE578}" destId="{4D5B2582-EE52-4DB9-A99F-FDC7F25E0A75}" srcOrd="15" destOrd="0" parTransId="{7876C23A-BD2E-4D55-9997-D56DEDBCC34B}" sibTransId="{3E013763-EFB6-4779-8DF2-5D573FAD85D4}"/>
    <dgm:cxn modelId="{9F287C72-4FA8-4F9D-A3B7-1F750C811C90}" srcId="{02A74CED-0E17-49C3-9FF5-865EFB6AE578}" destId="{DC89275C-61C5-45B9-A6F3-5B6C6CC0185E}" srcOrd="10" destOrd="0" parTransId="{D700435C-CDF8-4B04-A476-4C19226DF57D}" sibTransId="{FFBA01A4-23C1-4985-A345-93BB30D5A072}"/>
    <dgm:cxn modelId="{41E28157-231F-4286-BE6C-6F45B916996E}" type="presOf" srcId="{C86C0CF4-E60C-4360-B946-8E09F6D99B68}" destId="{80D51029-A43E-49DC-8826-7BCDA0A5C46E}" srcOrd="0" destOrd="12" presId="urn:microsoft.com/office/officeart/2005/8/layout/vList2"/>
    <dgm:cxn modelId="{BAC04D7F-02C2-4426-B7E1-7B317638B165}" type="presOf" srcId="{02A74CED-0E17-49C3-9FF5-865EFB6AE578}" destId="{BC1DC57E-FF9F-4181-83A0-E5004378376C}" srcOrd="0" destOrd="0" presId="urn:microsoft.com/office/officeart/2005/8/layout/vList2"/>
    <dgm:cxn modelId="{3E9ACF82-C688-46B9-8CAD-82868C97A189}" srcId="{02A74CED-0E17-49C3-9FF5-865EFB6AE578}" destId="{0C55B10B-FA33-4F51-9732-1B1C8F9E3E50}" srcOrd="18" destOrd="0" parTransId="{20EA8C00-B121-4F60-B763-CC4F7A2A41A9}" sibTransId="{ED035D97-51A7-4344-93C2-74BD0741F8B7}"/>
    <dgm:cxn modelId="{8B29B5A0-82C8-417F-8F93-EA96AF1B0991}" type="presOf" srcId="{3A93EA8E-ACA3-49A2-84B3-A2E1F558021D}" destId="{80D51029-A43E-49DC-8826-7BCDA0A5C46E}" srcOrd="0" destOrd="5" presId="urn:microsoft.com/office/officeart/2005/8/layout/vList2"/>
    <dgm:cxn modelId="{B086C7A4-0A1B-427C-873C-FCFDEDED3793}" type="presOf" srcId="{753DED34-224F-4927-859A-7684FAA9DA48}" destId="{0D73515F-F07F-49D8-94CA-46AAEBEDD052}" srcOrd="0" destOrd="0" presId="urn:microsoft.com/office/officeart/2005/8/layout/vList2"/>
    <dgm:cxn modelId="{6B421EA5-5E4C-4EDC-A350-D8F4D0690615}" type="presOf" srcId="{DC89275C-61C5-45B9-A6F3-5B6C6CC0185E}" destId="{80D51029-A43E-49DC-8826-7BCDA0A5C46E}" srcOrd="0" destOrd="10" presId="urn:microsoft.com/office/officeart/2005/8/layout/vList2"/>
    <dgm:cxn modelId="{635AE4A5-89C9-4FED-B82B-86C1B966EA24}" srcId="{02A74CED-0E17-49C3-9FF5-865EFB6AE578}" destId="{30EA1042-6699-433E-BED9-4BB0A5489DE8}" srcOrd="16" destOrd="0" parTransId="{DA1C9854-83C3-43D4-BC7D-377AFA93ACBD}" sibTransId="{AE951995-5E97-45FF-BC1F-39006AD8232F}"/>
    <dgm:cxn modelId="{55C3A2AB-F2F8-4768-9ED9-4BD282EF5D79}" srcId="{02A74CED-0E17-49C3-9FF5-865EFB6AE578}" destId="{E0B8795E-AA77-4ABD-A32B-E40F9ECA271D}" srcOrd="13" destOrd="0" parTransId="{B233BF48-80C2-457F-87C5-659D6737CC7F}" sibTransId="{72656204-7515-404C-AEA9-EF5063CB2E6F}"/>
    <dgm:cxn modelId="{FE88EEB3-ED11-4CE4-9B7F-8CBC1C7DB975}" srcId="{02A74CED-0E17-49C3-9FF5-865EFB6AE578}" destId="{A3DC7AEF-4E98-45C3-AA4E-973F3C57AEA5}" srcOrd="2" destOrd="0" parTransId="{DFF8E662-ED61-4321-B831-BFC398EF7A1E}" sibTransId="{3172AF8D-1232-40F9-B8F9-7B71F3FBB833}"/>
    <dgm:cxn modelId="{C7466DB9-5B4C-4079-A7BB-FA62A7E321C8}" type="presOf" srcId="{E8A305DC-1809-4AB3-98C4-C0361041F417}" destId="{80D51029-A43E-49DC-8826-7BCDA0A5C46E}" srcOrd="0" destOrd="4" presId="urn:microsoft.com/office/officeart/2005/8/layout/vList2"/>
    <dgm:cxn modelId="{8D5637CB-7ADB-44E3-BB59-241733C72F63}" type="presOf" srcId="{898C9F10-A384-43DD-A994-87A69F47DCAC}" destId="{80D51029-A43E-49DC-8826-7BCDA0A5C46E}" srcOrd="0" destOrd="0" presId="urn:microsoft.com/office/officeart/2005/8/layout/vList2"/>
    <dgm:cxn modelId="{9FA194CB-6561-47ED-B062-33CBD5E3059E}" srcId="{02A74CED-0E17-49C3-9FF5-865EFB6AE578}" destId="{A4134A33-8921-445D-B3EF-186DF83F0398}" srcOrd="3" destOrd="0" parTransId="{F5FF0B56-5BAF-4694-9F84-5BC028C37106}" sibTransId="{70E20C2E-D2FE-4E71-8E92-1EFCB8E79BC0}"/>
    <dgm:cxn modelId="{83A5C9CC-F76F-41D3-84E8-C2C559CE358A}" type="presOf" srcId="{30EA1042-6699-433E-BED9-4BB0A5489DE8}" destId="{80D51029-A43E-49DC-8826-7BCDA0A5C46E}" srcOrd="0" destOrd="16" presId="urn:microsoft.com/office/officeart/2005/8/layout/vList2"/>
    <dgm:cxn modelId="{DDF69ACE-8E7C-44DE-BAA8-F7F6C7C0D544}" type="presOf" srcId="{E7B3A700-7875-4F9D-855F-B4CA5F3A3F66}" destId="{80D51029-A43E-49DC-8826-7BCDA0A5C46E}" srcOrd="0" destOrd="11" presId="urn:microsoft.com/office/officeart/2005/8/layout/vList2"/>
    <dgm:cxn modelId="{5092D6D1-9580-4959-B8F5-FADD9FB5F46B}" srcId="{02A74CED-0E17-49C3-9FF5-865EFB6AE578}" destId="{7792A2CA-C6FA-410D-AF4F-15B47C258905}" srcOrd="1" destOrd="0" parTransId="{6387C026-FB66-4AAF-B7A1-BC1C5C9118A7}" sibTransId="{DDE50C3D-2C7C-4461-9C6A-D49407B5373E}"/>
    <dgm:cxn modelId="{A8E508D7-8B42-4A59-AFFF-C72678E47980}" type="presOf" srcId="{14FCF0CE-1511-4EBC-9D96-2951926D0A14}" destId="{80D51029-A43E-49DC-8826-7BCDA0A5C46E}" srcOrd="0" destOrd="14" presId="urn:microsoft.com/office/officeart/2005/8/layout/vList2"/>
    <dgm:cxn modelId="{E4BDFDDA-4F42-48E7-8460-825DA02986CB}" type="presOf" srcId="{8210B145-A7E3-48FC-9788-BEC0A7755579}" destId="{80D51029-A43E-49DC-8826-7BCDA0A5C46E}" srcOrd="0" destOrd="6" presId="urn:microsoft.com/office/officeart/2005/8/layout/vList2"/>
    <dgm:cxn modelId="{7473BADC-95F8-4680-9741-9286D1C67692}" srcId="{753DED34-224F-4927-859A-7684FAA9DA48}" destId="{02A74CED-0E17-49C3-9FF5-865EFB6AE578}" srcOrd="0" destOrd="0" parTransId="{97992C7D-C73A-4165-B216-F6F3AFB4B323}" sibTransId="{3BE80D99-5042-45A4-BFB1-27C0B4B50024}"/>
    <dgm:cxn modelId="{FEB41CE0-6D12-4949-A9AE-5B9B82ABD719}" type="presOf" srcId="{7792A2CA-C6FA-410D-AF4F-15B47C258905}" destId="{80D51029-A43E-49DC-8826-7BCDA0A5C46E}" srcOrd="0" destOrd="1" presId="urn:microsoft.com/office/officeart/2005/8/layout/vList2"/>
    <dgm:cxn modelId="{9315F4E6-32E2-43BA-82D6-2E26ADBC658B}" type="presOf" srcId="{6CFE1245-6108-44BC-ACE4-1B6824D03F90}" destId="{80D51029-A43E-49DC-8826-7BCDA0A5C46E}" srcOrd="0" destOrd="9" presId="urn:microsoft.com/office/officeart/2005/8/layout/vList2"/>
    <dgm:cxn modelId="{AF3088E7-C266-4F8E-BD6B-E01693176840}" type="presOf" srcId="{765F58AB-EC59-4B71-87AD-4DE18E799C0B}" destId="{80D51029-A43E-49DC-8826-7BCDA0A5C46E}" srcOrd="0" destOrd="17" presId="urn:microsoft.com/office/officeart/2005/8/layout/vList2"/>
    <dgm:cxn modelId="{9CB440ED-591B-4F19-8604-3579AEA6073F}" type="presOf" srcId="{4D5B2582-EE52-4DB9-A99F-FDC7F25E0A75}" destId="{80D51029-A43E-49DC-8826-7BCDA0A5C46E}" srcOrd="0" destOrd="15" presId="urn:microsoft.com/office/officeart/2005/8/layout/vList2"/>
    <dgm:cxn modelId="{C05478ED-F327-42F0-8FE3-368A3F155156}" type="presOf" srcId="{0C55B10B-FA33-4F51-9732-1B1C8F9E3E50}" destId="{80D51029-A43E-49DC-8826-7BCDA0A5C46E}" srcOrd="0" destOrd="18" presId="urn:microsoft.com/office/officeart/2005/8/layout/vList2"/>
    <dgm:cxn modelId="{CDF702F3-DAEA-4085-A8A0-F35085551D23}" type="presOf" srcId="{A4134A33-8921-445D-B3EF-186DF83F0398}" destId="{80D51029-A43E-49DC-8826-7BCDA0A5C46E}" srcOrd="0" destOrd="3" presId="urn:microsoft.com/office/officeart/2005/8/layout/vList2"/>
    <dgm:cxn modelId="{8960DFF3-9719-4CC8-8A4E-7BA8F276C174}" srcId="{02A74CED-0E17-49C3-9FF5-865EFB6AE578}" destId="{39755D4F-6994-4545-8AD1-E1718EACF4C7}" srcOrd="8" destOrd="0" parTransId="{33A7E3EF-032F-4921-AC93-CE98FC157592}" sibTransId="{0A4F5E7D-E7D3-4F42-ACF5-856425961A0E}"/>
    <dgm:cxn modelId="{912A0BFB-EBD5-41EA-B05B-01C85D95DAB9}" srcId="{02A74CED-0E17-49C3-9FF5-865EFB6AE578}" destId="{5C69A2C6-02D6-428F-AF06-48473543D448}" srcOrd="7" destOrd="0" parTransId="{C137979F-5B2B-4E79-ADC8-88ED12235E88}" sibTransId="{9A87D627-B51C-4CA8-AC5B-C8B536C1A209}"/>
    <dgm:cxn modelId="{37F9C7AF-5E55-458C-8F23-696DDCF1CA57}" type="presParOf" srcId="{0D73515F-F07F-49D8-94CA-46AAEBEDD052}" destId="{BC1DC57E-FF9F-4181-83A0-E5004378376C}" srcOrd="0" destOrd="0" presId="urn:microsoft.com/office/officeart/2005/8/layout/vList2"/>
    <dgm:cxn modelId="{A8B0321C-C880-4AFF-9D00-4290D0578035}" type="presParOf" srcId="{0D73515F-F07F-49D8-94CA-46AAEBEDD052}" destId="{80D51029-A43E-49DC-8826-7BCDA0A5C46E}" srcOrd="1"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7BEE99DF-66F9-49C5-8B6E-12496CB9BC8A}" type="doc">
      <dgm:prSet loTypeId="urn:microsoft.com/office/officeart/2005/8/layout/vList2" loCatId="list" qsTypeId="urn:microsoft.com/office/officeart/2005/8/quickstyle/simple1" qsCatId="simple" csTypeId="urn:microsoft.com/office/officeart/2005/8/colors/accent0_3" csCatId="mainScheme"/>
      <dgm:spPr/>
      <dgm:t>
        <a:bodyPr/>
        <a:lstStyle/>
        <a:p>
          <a:endParaRPr lang="en-US"/>
        </a:p>
      </dgm:t>
    </dgm:pt>
    <dgm:pt modelId="{9502AC84-6FDE-4446-9E35-1A2F70A7DEAC}">
      <dgm:prSet/>
      <dgm:spPr/>
      <dgm:t>
        <a:bodyPr/>
        <a:lstStyle/>
        <a:p>
          <a:r>
            <a:rPr lang="en-US" baseline="0"/>
            <a:t>Transact-SQL</a:t>
          </a:r>
          <a:endParaRPr lang="en-US"/>
        </a:p>
      </dgm:t>
    </dgm:pt>
    <dgm:pt modelId="{76249C49-48F7-4AC0-BE66-A550A92D4261}" type="parTrans" cxnId="{93BBF99F-10C7-446F-B690-39A5DE0A0D47}">
      <dgm:prSet/>
      <dgm:spPr/>
      <dgm:t>
        <a:bodyPr/>
        <a:lstStyle/>
        <a:p>
          <a:endParaRPr lang="en-US"/>
        </a:p>
      </dgm:t>
    </dgm:pt>
    <dgm:pt modelId="{B37C23FE-D2AB-45B4-9311-D3C8A7D87CCF}" type="sibTrans" cxnId="{93BBF99F-10C7-446F-B690-39A5DE0A0D47}">
      <dgm:prSet/>
      <dgm:spPr/>
      <dgm:t>
        <a:bodyPr/>
        <a:lstStyle/>
        <a:p>
          <a:endParaRPr lang="en-US"/>
        </a:p>
      </dgm:t>
    </dgm:pt>
    <dgm:pt modelId="{8F4E29D5-746E-438A-AAEE-44A22B892019}">
      <dgm:prSet/>
      <dgm:spPr/>
      <dgm:t>
        <a:bodyPr/>
        <a:lstStyle/>
        <a:p>
          <a:r>
            <a:rPr lang="en-US" baseline="0"/>
            <a:t>CREATE DATABASE</a:t>
          </a:r>
          <a:endParaRPr lang="en-US"/>
        </a:p>
      </dgm:t>
    </dgm:pt>
    <dgm:pt modelId="{13C1DABB-0B34-40BB-8C76-773E4DAF0D67}" type="parTrans" cxnId="{C3C86E84-9615-4568-9DFE-FCE6020339AA}">
      <dgm:prSet/>
      <dgm:spPr/>
      <dgm:t>
        <a:bodyPr/>
        <a:lstStyle/>
        <a:p>
          <a:endParaRPr lang="en-US"/>
        </a:p>
      </dgm:t>
    </dgm:pt>
    <dgm:pt modelId="{55F3D29B-E282-46FF-B445-71CEA6049899}" type="sibTrans" cxnId="{C3C86E84-9615-4568-9DFE-FCE6020339AA}">
      <dgm:prSet/>
      <dgm:spPr/>
      <dgm:t>
        <a:bodyPr/>
        <a:lstStyle/>
        <a:p>
          <a:endParaRPr lang="en-US"/>
        </a:p>
      </dgm:t>
    </dgm:pt>
    <dgm:pt modelId="{1B5F8570-9E23-49AF-AACD-EFDBEC23DB49}">
      <dgm:prSet/>
      <dgm:spPr/>
      <dgm:t>
        <a:bodyPr/>
        <a:lstStyle/>
        <a:p>
          <a:r>
            <a:rPr lang="en-US" baseline="0"/>
            <a:t>ALTER DATABASE</a:t>
          </a:r>
          <a:endParaRPr lang="en-US"/>
        </a:p>
      </dgm:t>
    </dgm:pt>
    <dgm:pt modelId="{AD590651-68F4-4501-88B3-3EAB0C6E3F03}" type="parTrans" cxnId="{7630FC9C-4050-4C03-AA7D-4AAF38718637}">
      <dgm:prSet/>
      <dgm:spPr/>
      <dgm:t>
        <a:bodyPr/>
        <a:lstStyle/>
        <a:p>
          <a:endParaRPr lang="en-US"/>
        </a:p>
      </dgm:t>
    </dgm:pt>
    <dgm:pt modelId="{85EABE63-625A-44AE-AAE5-08C83C4EC17A}" type="sibTrans" cxnId="{7630FC9C-4050-4C03-AA7D-4AAF38718637}">
      <dgm:prSet/>
      <dgm:spPr/>
      <dgm:t>
        <a:bodyPr/>
        <a:lstStyle/>
        <a:p>
          <a:endParaRPr lang="en-US"/>
        </a:p>
      </dgm:t>
    </dgm:pt>
    <dgm:pt modelId="{46967AB1-0469-4946-9D02-47ED3D657BF5}">
      <dgm:prSet/>
      <dgm:spPr/>
      <dgm:t>
        <a:bodyPr/>
        <a:lstStyle/>
        <a:p>
          <a:r>
            <a:rPr lang="en-US" baseline="0"/>
            <a:t>DROP DATABASE</a:t>
          </a:r>
          <a:endParaRPr lang="en-US"/>
        </a:p>
      </dgm:t>
    </dgm:pt>
    <dgm:pt modelId="{B2B9825D-3102-423B-AE0F-C28A0DEC91B6}" type="parTrans" cxnId="{B75E7676-6ED4-4261-8644-EEE1BF783F3E}">
      <dgm:prSet/>
      <dgm:spPr/>
      <dgm:t>
        <a:bodyPr/>
        <a:lstStyle/>
        <a:p>
          <a:endParaRPr lang="en-US"/>
        </a:p>
      </dgm:t>
    </dgm:pt>
    <dgm:pt modelId="{D2FA5905-DDEA-44F0-8CA8-A3374C81E969}" type="sibTrans" cxnId="{B75E7676-6ED4-4261-8644-EEE1BF783F3E}">
      <dgm:prSet/>
      <dgm:spPr/>
      <dgm:t>
        <a:bodyPr/>
        <a:lstStyle/>
        <a:p>
          <a:endParaRPr lang="en-US"/>
        </a:p>
      </dgm:t>
    </dgm:pt>
    <dgm:pt modelId="{4D156527-CD3E-43C7-BC13-A3908013FB89}">
      <dgm:prSet/>
      <dgm:spPr/>
      <dgm:t>
        <a:bodyPr/>
        <a:lstStyle/>
        <a:p>
          <a:r>
            <a:rPr lang="en-US" baseline="0"/>
            <a:t>sys.database_service_objectives</a:t>
          </a:r>
          <a:endParaRPr lang="en-US"/>
        </a:p>
      </dgm:t>
    </dgm:pt>
    <dgm:pt modelId="{C994D233-C3B1-411D-8174-A0BC97626D4C}" type="parTrans" cxnId="{DA8083DD-E8E4-4600-9927-761FA52E9343}">
      <dgm:prSet/>
      <dgm:spPr/>
      <dgm:t>
        <a:bodyPr/>
        <a:lstStyle/>
        <a:p>
          <a:endParaRPr lang="en-US"/>
        </a:p>
      </dgm:t>
    </dgm:pt>
    <dgm:pt modelId="{7220839D-E90C-4850-BE55-72124D9B0915}" type="sibTrans" cxnId="{DA8083DD-E8E4-4600-9927-761FA52E9343}">
      <dgm:prSet/>
      <dgm:spPr/>
      <dgm:t>
        <a:bodyPr/>
        <a:lstStyle/>
        <a:p>
          <a:endParaRPr lang="en-US"/>
        </a:p>
      </dgm:t>
    </dgm:pt>
    <dgm:pt modelId="{45750184-8203-46E8-9F8D-009A319DBEFB}">
      <dgm:prSet/>
      <dgm:spPr/>
      <dgm:t>
        <a:bodyPr/>
        <a:lstStyle/>
        <a:p>
          <a:r>
            <a:rPr lang="en-US" baseline="0"/>
            <a:t>sys.dm_db_resource_stats</a:t>
          </a:r>
          <a:endParaRPr lang="en-US"/>
        </a:p>
      </dgm:t>
    </dgm:pt>
    <dgm:pt modelId="{0B2E0E73-E03C-4BD2-9C03-9017CD312941}" type="parTrans" cxnId="{22657B77-9FF3-4B2F-A87D-FC765D59CAFE}">
      <dgm:prSet/>
      <dgm:spPr/>
      <dgm:t>
        <a:bodyPr/>
        <a:lstStyle/>
        <a:p>
          <a:endParaRPr lang="en-US"/>
        </a:p>
      </dgm:t>
    </dgm:pt>
    <dgm:pt modelId="{594150B0-723A-4411-A9FB-3B44500FCB0E}" type="sibTrans" cxnId="{22657B77-9FF3-4B2F-A87D-FC765D59CAFE}">
      <dgm:prSet/>
      <dgm:spPr/>
      <dgm:t>
        <a:bodyPr/>
        <a:lstStyle/>
        <a:p>
          <a:endParaRPr lang="en-US"/>
        </a:p>
      </dgm:t>
    </dgm:pt>
    <dgm:pt modelId="{19F14C5A-E75F-4608-9BE2-B081A1D88A96}">
      <dgm:prSet/>
      <dgm:spPr/>
      <dgm:t>
        <a:bodyPr/>
        <a:lstStyle/>
        <a:p>
          <a:r>
            <a:rPr lang="en-US" baseline="0"/>
            <a:t>sys.resource_stats</a:t>
          </a:r>
          <a:endParaRPr lang="en-US"/>
        </a:p>
      </dgm:t>
    </dgm:pt>
    <dgm:pt modelId="{BD5AADCF-CF4B-4C1C-88F1-24590BBDDA47}" type="parTrans" cxnId="{69A5BEA6-4BAE-4580-B1DA-0AD486718B07}">
      <dgm:prSet/>
      <dgm:spPr/>
      <dgm:t>
        <a:bodyPr/>
        <a:lstStyle/>
        <a:p>
          <a:endParaRPr lang="en-US"/>
        </a:p>
      </dgm:t>
    </dgm:pt>
    <dgm:pt modelId="{5CA87BDA-6743-4E8A-ADF8-A46EE2EFACB3}" type="sibTrans" cxnId="{69A5BEA6-4BAE-4580-B1DA-0AD486718B07}">
      <dgm:prSet/>
      <dgm:spPr/>
      <dgm:t>
        <a:bodyPr/>
        <a:lstStyle/>
        <a:p>
          <a:endParaRPr lang="en-US"/>
        </a:p>
      </dgm:t>
    </dgm:pt>
    <dgm:pt modelId="{0E299C00-B492-439C-A267-3544599F98A5}">
      <dgm:prSet/>
      <dgm:spPr/>
      <dgm:t>
        <a:bodyPr/>
        <a:lstStyle/>
        <a:p>
          <a:r>
            <a:rPr lang="en-US" baseline="0"/>
            <a:t>sys.database_connection_stats</a:t>
          </a:r>
          <a:endParaRPr lang="en-US"/>
        </a:p>
      </dgm:t>
    </dgm:pt>
    <dgm:pt modelId="{E57FF4CB-122F-4569-A361-DB92360E6733}" type="parTrans" cxnId="{F1A7EF36-CE54-45F9-9509-993D84C336FD}">
      <dgm:prSet/>
      <dgm:spPr/>
      <dgm:t>
        <a:bodyPr/>
        <a:lstStyle/>
        <a:p>
          <a:endParaRPr lang="en-US"/>
        </a:p>
      </dgm:t>
    </dgm:pt>
    <dgm:pt modelId="{B0C973F2-3088-4CA4-9EB7-E9FAC538C389}" type="sibTrans" cxnId="{F1A7EF36-CE54-45F9-9509-993D84C336FD}">
      <dgm:prSet/>
      <dgm:spPr/>
      <dgm:t>
        <a:bodyPr/>
        <a:lstStyle/>
        <a:p>
          <a:endParaRPr lang="en-US"/>
        </a:p>
      </dgm:t>
    </dgm:pt>
    <dgm:pt modelId="{D615100D-3EEB-44C7-9AF7-E4D9C7FF5578}">
      <dgm:prSet/>
      <dgm:spPr/>
      <dgm:t>
        <a:bodyPr/>
        <a:lstStyle/>
        <a:p>
          <a:r>
            <a:rPr lang="en-US" baseline="0"/>
            <a:t>sys.event_log</a:t>
          </a:r>
          <a:endParaRPr lang="en-US"/>
        </a:p>
      </dgm:t>
    </dgm:pt>
    <dgm:pt modelId="{6A44FBD8-DD6A-40CE-BBC6-AACD7138529F}" type="parTrans" cxnId="{D4EDC328-D534-4E4F-980E-E8E44FFA1AB5}">
      <dgm:prSet/>
      <dgm:spPr/>
      <dgm:t>
        <a:bodyPr/>
        <a:lstStyle/>
        <a:p>
          <a:endParaRPr lang="en-US"/>
        </a:p>
      </dgm:t>
    </dgm:pt>
    <dgm:pt modelId="{A595B81D-E122-421F-B7D6-C3EA5C070674}" type="sibTrans" cxnId="{D4EDC328-D534-4E4F-980E-E8E44FFA1AB5}">
      <dgm:prSet/>
      <dgm:spPr/>
      <dgm:t>
        <a:bodyPr/>
        <a:lstStyle/>
        <a:p>
          <a:endParaRPr lang="en-US"/>
        </a:p>
      </dgm:t>
    </dgm:pt>
    <dgm:pt modelId="{C1113C00-D0D1-4853-B607-5FDFC9E21C15}">
      <dgm:prSet/>
      <dgm:spPr/>
      <dgm:t>
        <a:bodyPr/>
        <a:lstStyle/>
        <a:p>
          <a:r>
            <a:rPr lang="en-US" baseline="0"/>
            <a:t>sp_set_firewall_rule</a:t>
          </a:r>
          <a:endParaRPr lang="en-US"/>
        </a:p>
      </dgm:t>
    </dgm:pt>
    <dgm:pt modelId="{CC2ED8E1-D98D-4017-96E8-7B074F529D85}" type="parTrans" cxnId="{77572AE5-0B75-43DA-B44B-D7F8967B98A3}">
      <dgm:prSet/>
      <dgm:spPr/>
      <dgm:t>
        <a:bodyPr/>
        <a:lstStyle/>
        <a:p>
          <a:endParaRPr lang="en-US"/>
        </a:p>
      </dgm:t>
    </dgm:pt>
    <dgm:pt modelId="{FA0318FD-540E-4F23-A149-79228F09F394}" type="sibTrans" cxnId="{77572AE5-0B75-43DA-B44B-D7F8967B98A3}">
      <dgm:prSet/>
      <dgm:spPr/>
      <dgm:t>
        <a:bodyPr/>
        <a:lstStyle/>
        <a:p>
          <a:endParaRPr lang="en-US"/>
        </a:p>
      </dgm:t>
    </dgm:pt>
    <dgm:pt modelId="{A71CB963-0781-4650-8ABC-E273568FE179}">
      <dgm:prSet/>
      <dgm:spPr/>
      <dgm:t>
        <a:bodyPr/>
        <a:lstStyle/>
        <a:p>
          <a:r>
            <a:rPr lang="en-US" baseline="0"/>
            <a:t>sys.firewall_rules</a:t>
          </a:r>
          <a:endParaRPr lang="en-US"/>
        </a:p>
      </dgm:t>
    </dgm:pt>
    <dgm:pt modelId="{22C774DD-ADF6-47AF-8B2F-B3F5DD4E0721}" type="parTrans" cxnId="{0FD37632-7371-400C-A8D4-4830415725FB}">
      <dgm:prSet/>
      <dgm:spPr/>
      <dgm:t>
        <a:bodyPr/>
        <a:lstStyle/>
        <a:p>
          <a:endParaRPr lang="en-US"/>
        </a:p>
      </dgm:t>
    </dgm:pt>
    <dgm:pt modelId="{7C223F2C-AA26-4D8E-B79A-12B185911854}" type="sibTrans" cxnId="{0FD37632-7371-400C-A8D4-4830415725FB}">
      <dgm:prSet/>
      <dgm:spPr/>
      <dgm:t>
        <a:bodyPr/>
        <a:lstStyle/>
        <a:p>
          <a:endParaRPr lang="en-US"/>
        </a:p>
      </dgm:t>
    </dgm:pt>
    <dgm:pt modelId="{82FEC3F5-DBDD-4F52-8CC0-0F2A169289CE}">
      <dgm:prSet/>
      <dgm:spPr/>
      <dgm:t>
        <a:bodyPr/>
        <a:lstStyle/>
        <a:p>
          <a:r>
            <a:rPr lang="en-US" baseline="0"/>
            <a:t>sp_delete_firewall_rule</a:t>
          </a:r>
          <a:endParaRPr lang="en-US"/>
        </a:p>
      </dgm:t>
    </dgm:pt>
    <dgm:pt modelId="{FEC25B2A-5898-44BF-93AF-B05D13B00581}" type="parTrans" cxnId="{0F712302-2D6D-431A-B677-7267FA45D265}">
      <dgm:prSet/>
      <dgm:spPr/>
      <dgm:t>
        <a:bodyPr/>
        <a:lstStyle/>
        <a:p>
          <a:endParaRPr lang="en-US"/>
        </a:p>
      </dgm:t>
    </dgm:pt>
    <dgm:pt modelId="{58E2F215-A99C-4E56-AC4E-33CDC4D670F8}" type="sibTrans" cxnId="{0F712302-2D6D-431A-B677-7267FA45D265}">
      <dgm:prSet/>
      <dgm:spPr/>
      <dgm:t>
        <a:bodyPr/>
        <a:lstStyle/>
        <a:p>
          <a:endParaRPr lang="en-US"/>
        </a:p>
      </dgm:t>
    </dgm:pt>
    <dgm:pt modelId="{449C487C-8533-44F9-B96D-577055F1B873}">
      <dgm:prSet/>
      <dgm:spPr/>
      <dgm:t>
        <a:bodyPr/>
        <a:lstStyle/>
        <a:p>
          <a:r>
            <a:rPr lang="en-US" baseline="0"/>
            <a:t>sp_set_database_firewall_rule</a:t>
          </a:r>
          <a:endParaRPr lang="en-US"/>
        </a:p>
      </dgm:t>
    </dgm:pt>
    <dgm:pt modelId="{9EDF235A-77D7-471B-BEAC-ECADB1A7B407}" type="parTrans" cxnId="{1994C9C1-4780-4961-A423-6051D28B178D}">
      <dgm:prSet/>
      <dgm:spPr/>
      <dgm:t>
        <a:bodyPr/>
        <a:lstStyle/>
        <a:p>
          <a:endParaRPr lang="en-US"/>
        </a:p>
      </dgm:t>
    </dgm:pt>
    <dgm:pt modelId="{B4D95AEB-CE04-4055-89CE-DC8A88D384AD}" type="sibTrans" cxnId="{1994C9C1-4780-4961-A423-6051D28B178D}">
      <dgm:prSet/>
      <dgm:spPr/>
      <dgm:t>
        <a:bodyPr/>
        <a:lstStyle/>
        <a:p>
          <a:endParaRPr lang="en-US"/>
        </a:p>
      </dgm:t>
    </dgm:pt>
    <dgm:pt modelId="{CAB08A12-1017-4EB2-A9C2-E456CAF0B886}">
      <dgm:prSet/>
      <dgm:spPr/>
      <dgm:t>
        <a:bodyPr/>
        <a:lstStyle/>
        <a:p>
          <a:r>
            <a:rPr lang="en-US" baseline="0"/>
            <a:t>sys.database_firewall_rules</a:t>
          </a:r>
          <a:endParaRPr lang="en-US"/>
        </a:p>
      </dgm:t>
    </dgm:pt>
    <dgm:pt modelId="{158DD9A6-FE2F-456A-9D43-80A393D53F65}" type="parTrans" cxnId="{5A2193F3-EFFE-4557-BD06-90ADAF7D92A0}">
      <dgm:prSet/>
      <dgm:spPr/>
      <dgm:t>
        <a:bodyPr/>
        <a:lstStyle/>
        <a:p>
          <a:endParaRPr lang="en-US"/>
        </a:p>
      </dgm:t>
    </dgm:pt>
    <dgm:pt modelId="{AF0E7848-CD3A-4A75-87D7-110EF3C54988}" type="sibTrans" cxnId="{5A2193F3-EFFE-4557-BD06-90ADAF7D92A0}">
      <dgm:prSet/>
      <dgm:spPr/>
      <dgm:t>
        <a:bodyPr/>
        <a:lstStyle/>
        <a:p>
          <a:endParaRPr lang="en-US"/>
        </a:p>
      </dgm:t>
    </dgm:pt>
    <dgm:pt modelId="{F61A3068-DEED-4D45-814E-D21484118004}">
      <dgm:prSet/>
      <dgm:spPr/>
      <dgm:t>
        <a:bodyPr/>
        <a:lstStyle/>
        <a:p>
          <a:r>
            <a:rPr lang="en-US" baseline="0"/>
            <a:t>sp_delete_database_firewall_rule</a:t>
          </a:r>
          <a:endParaRPr lang="en-US"/>
        </a:p>
      </dgm:t>
    </dgm:pt>
    <dgm:pt modelId="{559ACA37-94D6-4060-B287-CBDFD747CD34}" type="parTrans" cxnId="{0C6EC84A-2F63-471D-8740-A74C4258EFB9}">
      <dgm:prSet/>
      <dgm:spPr/>
      <dgm:t>
        <a:bodyPr/>
        <a:lstStyle/>
        <a:p>
          <a:endParaRPr lang="en-US"/>
        </a:p>
      </dgm:t>
    </dgm:pt>
    <dgm:pt modelId="{C7538659-E0E1-4BD7-A55C-3EC86DDECEF2}" type="sibTrans" cxnId="{0C6EC84A-2F63-471D-8740-A74C4258EFB9}">
      <dgm:prSet/>
      <dgm:spPr/>
      <dgm:t>
        <a:bodyPr/>
        <a:lstStyle/>
        <a:p>
          <a:endParaRPr lang="en-US"/>
        </a:p>
      </dgm:t>
    </dgm:pt>
    <dgm:pt modelId="{F21FAE07-668D-400E-A59F-9A3ED84EBF19}" type="pres">
      <dgm:prSet presAssocID="{7BEE99DF-66F9-49C5-8B6E-12496CB9BC8A}" presName="linear" presStyleCnt="0">
        <dgm:presLayoutVars>
          <dgm:animLvl val="lvl"/>
          <dgm:resizeHandles val="exact"/>
        </dgm:presLayoutVars>
      </dgm:prSet>
      <dgm:spPr/>
    </dgm:pt>
    <dgm:pt modelId="{D0C5DCEF-0067-45E7-9066-15829EFF0255}" type="pres">
      <dgm:prSet presAssocID="{9502AC84-6FDE-4446-9E35-1A2F70A7DEAC}" presName="parentText" presStyleLbl="node1" presStyleIdx="0" presStyleCnt="1">
        <dgm:presLayoutVars>
          <dgm:chMax val="0"/>
          <dgm:bulletEnabled val="1"/>
        </dgm:presLayoutVars>
      </dgm:prSet>
      <dgm:spPr/>
    </dgm:pt>
    <dgm:pt modelId="{55E169EB-7D49-40F1-AE5D-92FFA709C28F}" type="pres">
      <dgm:prSet presAssocID="{9502AC84-6FDE-4446-9E35-1A2F70A7DEAC}" presName="childText" presStyleLbl="revTx" presStyleIdx="0" presStyleCnt="1">
        <dgm:presLayoutVars>
          <dgm:bulletEnabled val="1"/>
        </dgm:presLayoutVars>
      </dgm:prSet>
      <dgm:spPr/>
    </dgm:pt>
  </dgm:ptLst>
  <dgm:cxnLst>
    <dgm:cxn modelId="{0F712302-2D6D-431A-B677-7267FA45D265}" srcId="{9502AC84-6FDE-4446-9E35-1A2F70A7DEAC}" destId="{82FEC3F5-DBDD-4F52-8CC0-0F2A169289CE}" srcOrd="10" destOrd="0" parTransId="{FEC25B2A-5898-44BF-93AF-B05D13B00581}" sibTransId="{58E2F215-A99C-4E56-AC4E-33CDC4D670F8}"/>
    <dgm:cxn modelId="{B345380B-F672-4E05-B564-459680D72F0E}" type="presOf" srcId="{449C487C-8533-44F9-B96D-577055F1B873}" destId="{55E169EB-7D49-40F1-AE5D-92FFA709C28F}" srcOrd="0" destOrd="11" presId="urn:microsoft.com/office/officeart/2005/8/layout/vList2"/>
    <dgm:cxn modelId="{55ED2C16-88F1-4936-B0B8-1D098CD14588}" type="presOf" srcId="{0E299C00-B492-439C-A267-3544599F98A5}" destId="{55E169EB-7D49-40F1-AE5D-92FFA709C28F}" srcOrd="0" destOrd="6" presId="urn:microsoft.com/office/officeart/2005/8/layout/vList2"/>
    <dgm:cxn modelId="{638A3E28-8562-45B9-9AF3-94167DAA4C5F}" type="presOf" srcId="{4D156527-CD3E-43C7-BC13-A3908013FB89}" destId="{55E169EB-7D49-40F1-AE5D-92FFA709C28F}" srcOrd="0" destOrd="3" presId="urn:microsoft.com/office/officeart/2005/8/layout/vList2"/>
    <dgm:cxn modelId="{D4EDC328-D534-4E4F-980E-E8E44FFA1AB5}" srcId="{9502AC84-6FDE-4446-9E35-1A2F70A7DEAC}" destId="{D615100D-3EEB-44C7-9AF7-E4D9C7FF5578}" srcOrd="7" destOrd="0" parTransId="{6A44FBD8-DD6A-40CE-BBC6-AACD7138529F}" sibTransId="{A595B81D-E122-421F-B7D6-C3EA5C070674}"/>
    <dgm:cxn modelId="{4786D72B-42D7-4F34-92BE-A2146FE8F534}" type="presOf" srcId="{A71CB963-0781-4650-8ABC-E273568FE179}" destId="{55E169EB-7D49-40F1-AE5D-92FFA709C28F}" srcOrd="0" destOrd="9" presId="urn:microsoft.com/office/officeart/2005/8/layout/vList2"/>
    <dgm:cxn modelId="{0FD37632-7371-400C-A8D4-4830415725FB}" srcId="{9502AC84-6FDE-4446-9E35-1A2F70A7DEAC}" destId="{A71CB963-0781-4650-8ABC-E273568FE179}" srcOrd="9" destOrd="0" parTransId="{22C774DD-ADF6-47AF-8B2F-B3F5DD4E0721}" sibTransId="{7C223F2C-AA26-4D8E-B79A-12B185911854}"/>
    <dgm:cxn modelId="{858EB035-F806-46E6-B29E-674ACDC205AC}" type="presOf" srcId="{7BEE99DF-66F9-49C5-8B6E-12496CB9BC8A}" destId="{F21FAE07-668D-400E-A59F-9A3ED84EBF19}" srcOrd="0" destOrd="0" presId="urn:microsoft.com/office/officeart/2005/8/layout/vList2"/>
    <dgm:cxn modelId="{F1A7EF36-CE54-45F9-9509-993D84C336FD}" srcId="{9502AC84-6FDE-4446-9E35-1A2F70A7DEAC}" destId="{0E299C00-B492-439C-A267-3544599F98A5}" srcOrd="6" destOrd="0" parTransId="{E57FF4CB-122F-4569-A361-DB92360E6733}" sibTransId="{B0C973F2-3088-4CA4-9EB7-E9FAC538C389}"/>
    <dgm:cxn modelId="{E096F047-DD5C-4624-91C4-8A1969ABCA47}" type="presOf" srcId="{82FEC3F5-DBDD-4F52-8CC0-0F2A169289CE}" destId="{55E169EB-7D49-40F1-AE5D-92FFA709C28F}" srcOrd="0" destOrd="10" presId="urn:microsoft.com/office/officeart/2005/8/layout/vList2"/>
    <dgm:cxn modelId="{AB21AD48-7311-47BB-893E-D0FCC8BF4BE2}" type="presOf" srcId="{46967AB1-0469-4946-9D02-47ED3D657BF5}" destId="{55E169EB-7D49-40F1-AE5D-92FFA709C28F}" srcOrd="0" destOrd="2" presId="urn:microsoft.com/office/officeart/2005/8/layout/vList2"/>
    <dgm:cxn modelId="{0C6EC84A-2F63-471D-8740-A74C4258EFB9}" srcId="{9502AC84-6FDE-4446-9E35-1A2F70A7DEAC}" destId="{F61A3068-DEED-4D45-814E-D21484118004}" srcOrd="13" destOrd="0" parTransId="{559ACA37-94D6-4060-B287-CBDFD747CD34}" sibTransId="{C7538659-E0E1-4BD7-A55C-3EC86DDECEF2}"/>
    <dgm:cxn modelId="{26D43773-D2DA-46A8-9DB8-D97FC909AE2E}" type="presOf" srcId="{1B5F8570-9E23-49AF-AACD-EFDBEC23DB49}" destId="{55E169EB-7D49-40F1-AE5D-92FFA709C28F}" srcOrd="0" destOrd="1" presId="urn:microsoft.com/office/officeart/2005/8/layout/vList2"/>
    <dgm:cxn modelId="{B75E7676-6ED4-4261-8644-EEE1BF783F3E}" srcId="{9502AC84-6FDE-4446-9E35-1A2F70A7DEAC}" destId="{46967AB1-0469-4946-9D02-47ED3D657BF5}" srcOrd="2" destOrd="0" parTransId="{B2B9825D-3102-423B-AE0F-C28A0DEC91B6}" sibTransId="{D2FA5905-DDEA-44F0-8CA8-A3374C81E969}"/>
    <dgm:cxn modelId="{22657B77-9FF3-4B2F-A87D-FC765D59CAFE}" srcId="{9502AC84-6FDE-4446-9E35-1A2F70A7DEAC}" destId="{45750184-8203-46E8-9F8D-009A319DBEFB}" srcOrd="4" destOrd="0" parTransId="{0B2E0E73-E03C-4BD2-9C03-9017CD312941}" sibTransId="{594150B0-723A-4411-A9FB-3B44500FCB0E}"/>
    <dgm:cxn modelId="{BCEEC558-72F6-47F2-84C9-87D03518FDF9}" type="presOf" srcId="{D615100D-3EEB-44C7-9AF7-E4D9C7FF5578}" destId="{55E169EB-7D49-40F1-AE5D-92FFA709C28F}" srcOrd="0" destOrd="7" presId="urn:microsoft.com/office/officeart/2005/8/layout/vList2"/>
    <dgm:cxn modelId="{05F3CD82-78F8-4E7C-8E2F-7B42B987E980}" type="presOf" srcId="{45750184-8203-46E8-9F8D-009A319DBEFB}" destId="{55E169EB-7D49-40F1-AE5D-92FFA709C28F}" srcOrd="0" destOrd="4" presId="urn:microsoft.com/office/officeart/2005/8/layout/vList2"/>
    <dgm:cxn modelId="{C3C86E84-9615-4568-9DFE-FCE6020339AA}" srcId="{9502AC84-6FDE-4446-9E35-1A2F70A7DEAC}" destId="{8F4E29D5-746E-438A-AAEE-44A22B892019}" srcOrd="0" destOrd="0" parTransId="{13C1DABB-0B34-40BB-8C76-773E4DAF0D67}" sibTransId="{55F3D29B-E282-46FF-B445-71CEA6049899}"/>
    <dgm:cxn modelId="{F3A91093-FB31-464C-A4C0-242EB3CAD4C0}" type="presOf" srcId="{19F14C5A-E75F-4608-9BE2-B081A1D88A96}" destId="{55E169EB-7D49-40F1-AE5D-92FFA709C28F}" srcOrd="0" destOrd="5" presId="urn:microsoft.com/office/officeart/2005/8/layout/vList2"/>
    <dgm:cxn modelId="{7630FC9C-4050-4C03-AA7D-4AAF38718637}" srcId="{9502AC84-6FDE-4446-9E35-1A2F70A7DEAC}" destId="{1B5F8570-9E23-49AF-AACD-EFDBEC23DB49}" srcOrd="1" destOrd="0" parTransId="{AD590651-68F4-4501-88B3-3EAB0C6E3F03}" sibTransId="{85EABE63-625A-44AE-AAE5-08C83C4EC17A}"/>
    <dgm:cxn modelId="{93BBF99F-10C7-446F-B690-39A5DE0A0D47}" srcId="{7BEE99DF-66F9-49C5-8B6E-12496CB9BC8A}" destId="{9502AC84-6FDE-4446-9E35-1A2F70A7DEAC}" srcOrd="0" destOrd="0" parTransId="{76249C49-48F7-4AC0-BE66-A550A92D4261}" sibTransId="{B37C23FE-D2AB-45B4-9311-D3C8A7D87CCF}"/>
    <dgm:cxn modelId="{456527A1-10CF-4175-A376-B81AB5E209E0}" type="presOf" srcId="{C1113C00-D0D1-4853-B607-5FDFC9E21C15}" destId="{55E169EB-7D49-40F1-AE5D-92FFA709C28F}" srcOrd="0" destOrd="8" presId="urn:microsoft.com/office/officeart/2005/8/layout/vList2"/>
    <dgm:cxn modelId="{B12C7AA1-70DB-4F64-82B6-6352E72E0A63}" type="presOf" srcId="{CAB08A12-1017-4EB2-A9C2-E456CAF0B886}" destId="{55E169EB-7D49-40F1-AE5D-92FFA709C28F}" srcOrd="0" destOrd="12" presId="urn:microsoft.com/office/officeart/2005/8/layout/vList2"/>
    <dgm:cxn modelId="{69A5BEA6-4BAE-4580-B1DA-0AD486718B07}" srcId="{9502AC84-6FDE-4446-9E35-1A2F70A7DEAC}" destId="{19F14C5A-E75F-4608-9BE2-B081A1D88A96}" srcOrd="5" destOrd="0" parTransId="{BD5AADCF-CF4B-4C1C-88F1-24590BBDDA47}" sibTransId="{5CA87BDA-6743-4E8A-ADF8-A46EE2EFACB3}"/>
    <dgm:cxn modelId="{B21AF0AD-A190-4667-8166-8F0E33D5F525}" type="presOf" srcId="{8F4E29D5-746E-438A-AAEE-44A22B892019}" destId="{55E169EB-7D49-40F1-AE5D-92FFA709C28F}" srcOrd="0" destOrd="0" presId="urn:microsoft.com/office/officeart/2005/8/layout/vList2"/>
    <dgm:cxn modelId="{1994C9C1-4780-4961-A423-6051D28B178D}" srcId="{9502AC84-6FDE-4446-9E35-1A2F70A7DEAC}" destId="{449C487C-8533-44F9-B96D-577055F1B873}" srcOrd="11" destOrd="0" parTransId="{9EDF235A-77D7-471B-BEAC-ECADB1A7B407}" sibTransId="{B4D95AEB-CE04-4055-89CE-DC8A88D384AD}"/>
    <dgm:cxn modelId="{DA8083DD-E8E4-4600-9927-761FA52E9343}" srcId="{9502AC84-6FDE-4446-9E35-1A2F70A7DEAC}" destId="{4D156527-CD3E-43C7-BC13-A3908013FB89}" srcOrd="3" destOrd="0" parTransId="{C994D233-C3B1-411D-8174-A0BC97626D4C}" sibTransId="{7220839D-E90C-4850-BE55-72124D9B0915}"/>
    <dgm:cxn modelId="{77572AE5-0B75-43DA-B44B-D7F8967B98A3}" srcId="{9502AC84-6FDE-4446-9E35-1A2F70A7DEAC}" destId="{C1113C00-D0D1-4853-B607-5FDFC9E21C15}" srcOrd="8" destOrd="0" parTransId="{CC2ED8E1-D98D-4017-96E8-7B074F529D85}" sibTransId="{FA0318FD-540E-4F23-A149-79228F09F394}"/>
    <dgm:cxn modelId="{DEC0B2ED-0652-48DD-81AE-C26E77FFF973}" type="presOf" srcId="{9502AC84-6FDE-4446-9E35-1A2F70A7DEAC}" destId="{D0C5DCEF-0067-45E7-9066-15829EFF0255}" srcOrd="0" destOrd="0" presId="urn:microsoft.com/office/officeart/2005/8/layout/vList2"/>
    <dgm:cxn modelId="{5A2193F3-EFFE-4557-BD06-90ADAF7D92A0}" srcId="{9502AC84-6FDE-4446-9E35-1A2F70A7DEAC}" destId="{CAB08A12-1017-4EB2-A9C2-E456CAF0B886}" srcOrd="12" destOrd="0" parTransId="{158DD9A6-FE2F-456A-9D43-80A393D53F65}" sibTransId="{AF0E7848-CD3A-4A75-87D7-110EF3C54988}"/>
    <dgm:cxn modelId="{DE8E70FE-B16C-474D-ADE2-3A8F417C17D7}" type="presOf" srcId="{F61A3068-DEED-4D45-814E-D21484118004}" destId="{55E169EB-7D49-40F1-AE5D-92FFA709C28F}" srcOrd="0" destOrd="13" presId="urn:microsoft.com/office/officeart/2005/8/layout/vList2"/>
    <dgm:cxn modelId="{7618E49A-7F85-46E6-8577-492A3DD2BC58}" type="presParOf" srcId="{F21FAE07-668D-400E-A59F-9A3ED84EBF19}" destId="{D0C5DCEF-0067-45E7-9066-15829EFF0255}" srcOrd="0" destOrd="0" presId="urn:microsoft.com/office/officeart/2005/8/layout/vList2"/>
    <dgm:cxn modelId="{B7294F4B-2D21-4F96-86DE-8C24651AF4B9}" type="presParOf" srcId="{F21FAE07-668D-400E-A59F-9A3ED84EBF19}" destId="{55E169EB-7D49-40F1-AE5D-92FFA709C28F}" srcOrd="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AE3C265C-2285-4DBD-853C-DF9920409CF6}" type="doc">
      <dgm:prSet loTypeId="urn:microsoft.com/office/officeart/2005/8/layout/vList2" loCatId="list" qsTypeId="urn:microsoft.com/office/officeart/2005/8/quickstyle/simple1" qsCatId="simple" csTypeId="urn:microsoft.com/office/officeart/2005/8/colors/accent0_3" csCatId="mainScheme"/>
      <dgm:spPr/>
      <dgm:t>
        <a:bodyPr/>
        <a:lstStyle/>
        <a:p>
          <a:endParaRPr lang="en-US"/>
        </a:p>
      </dgm:t>
    </dgm:pt>
    <dgm:pt modelId="{AACDC148-558A-459E-A549-D29AC288ADC8}">
      <dgm:prSet/>
      <dgm:spPr/>
      <dgm:t>
        <a:bodyPr/>
        <a:lstStyle/>
        <a:p>
          <a:r>
            <a:rPr lang="en-US" baseline="0"/>
            <a:t>REST API</a:t>
          </a:r>
          <a:endParaRPr lang="en-US"/>
        </a:p>
      </dgm:t>
    </dgm:pt>
    <dgm:pt modelId="{D625271E-1F15-44C4-B087-78CF7FFE9E48}" type="parTrans" cxnId="{533D8A60-5581-4CD3-BBE6-ED622068011E}">
      <dgm:prSet/>
      <dgm:spPr/>
      <dgm:t>
        <a:bodyPr/>
        <a:lstStyle/>
        <a:p>
          <a:endParaRPr lang="en-US"/>
        </a:p>
      </dgm:t>
    </dgm:pt>
    <dgm:pt modelId="{EF2FD4DD-C870-49D0-8A44-D2414E5E4ED8}" type="sibTrans" cxnId="{533D8A60-5581-4CD3-BBE6-ED622068011E}">
      <dgm:prSet/>
      <dgm:spPr/>
      <dgm:t>
        <a:bodyPr/>
        <a:lstStyle/>
        <a:p>
          <a:endParaRPr lang="en-US"/>
        </a:p>
      </dgm:t>
    </dgm:pt>
    <dgm:pt modelId="{4AC10794-6661-4E6B-B0D7-0D135D4EA2E6}">
      <dgm:prSet/>
      <dgm:spPr/>
      <dgm:t>
        <a:bodyPr/>
        <a:lstStyle/>
        <a:p>
          <a:r>
            <a:rPr lang="en-US" baseline="0"/>
            <a:t>Servers - Create or update</a:t>
          </a:r>
          <a:endParaRPr lang="en-US"/>
        </a:p>
      </dgm:t>
    </dgm:pt>
    <dgm:pt modelId="{C9D66120-D210-4F78-A66D-F63DF62156BE}" type="parTrans" cxnId="{622DA482-838C-4D1F-A015-0F22B3601608}">
      <dgm:prSet/>
      <dgm:spPr/>
      <dgm:t>
        <a:bodyPr/>
        <a:lstStyle/>
        <a:p>
          <a:endParaRPr lang="en-US"/>
        </a:p>
      </dgm:t>
    </dgm:pt>
    <dgm:pt modelId="{189F1BD0-1B8D-4AEA-9A2C-79847069B620}" type="sibTrans" cxnId="{622DA482-838C-4D1F-A015-0F22B3601608}">
      <dgm:prSet/>
      <dgm:spPr/>
      <dgm:t>
        <a:bodyPr/>
        <a:lstStyle/>
        <a:p>
          <a:endParaRPr lang="en-US"/>
        </a:p>
      </dgm:t>
    </dgm:pt>
    <dgm:pt modelId="{DFF07C30-C7B1-433F-BF9C-15D1E8594712}">
      <dgm:prSet/>
      <dgm:spPr/>
      <dgm:t>
        <a:bodyPr/>
        <a:lstStyle/>
        <a:p>
          <a:r>
            <a:rPr lang="en-US" baseline="0"/>
            <a:t>Servers - Delete</a:t>
          </a:r>
          <a:endParaRPr lang="en-US"/>
        </a:p>
      </dgm:t>
    </dgm:pt>
    <dgm:pt modelId="{1F0F8188-C8C5-4B65-B3C6-9C6C1D29AD70}" type="parTrans" cxnId="{CD4534C3-F662-4CFD-A585-D64960E0DE54}">
      <dgm:prSet/>
      <dgm:spPr/>
      <dgm:t>
        <a:bodyPr/>
        <a:lstStyle/>
        <a:p>
          <a:endParaRPr lang="en-US"/>
        </a:p>
      </dgm:t>
    </dgm:pt>
    <dgm:pt modelId="{0B00334C-3E43-4E2A-8698-565E0C0D1C76}" type="sibTrans" cxnId="{CD4534C3-F662-4CFD-A585-D64960E0DE54}">
      <dgm:prSet/>
      <dgm:spPr/>
      <dgm:t>
        <a:bodyPr/>
        <a:lstStyle/>
        <a:p>
          <a:endParaRPr lang="en-US"/>
        </a:p>
      </dgm:t>
    </dgm:pt>
    <dgm:pt modelId="{13DAD8FF-3896-4B12-9504-4BC802E4C5EF}">
      <dgm:prSet/>
      <dgm:spPr/>
      <dgm:t>
        <a:bodyPr/>
        <a:lstStyle/>
        <a:p>
          <a:r>
            <a:rPr lang="en-US" baseline="0"/>
            <a:t>Servers - Get</a:t>
          </a:r>
          <a:endParaRPr lang="en-US"/>
        </a:p>
      </dgm:t>
    </dgm:pt>
    <dgm:pt modelId="{C77D1BB5-119A-41CF-ACDD-93A1DBE323BB}" type="parTrans" cxnId="{3E4D4134-CAB7-4E2E-B4A9-BF1D37247E00}">
      <dgm:prSet/>
      <dgm:spPr/>
      <dgm:t>
        <a:bodyPr/>
        <a:lstStyle/>
        <a:p>
          <a:endParaRPr lang="en-US"/>
        </a:p>
      </dgm:t>
    </dgm:pt>
    <dgm:pt modelId="{8A509F83-1916-487A-BBD6-EE97DCD3A710}" type="sibTrans" cxnId="{3E4D4134-CAB7-4E2E-B4A9-BF1D37247E00}">
      <dgm:prSet/>
      <dgm:spPr/>
      <dgm:t>
        <a:bodyPr/>
        <a:lstStyle/>
        <a:p>
          <a:endParaRPr lang="en-US"/>
        </a:p>
      </dgm:t>
    </dgm:pt>
    <dgm:pt modelId="{491CED8F-EF98-4B23-ACAE-C9821FAADFC7}">
      <dgm:prSet/>
      <dgm:spPr/>
      <dgm:t>
        <a:bodyPr/>
        <a:lstStyle/>
        <a:p>
          <a:r>
            <a:rPr lang="en-US" baseline="0"/>
            <a:t>Servers - List</a:t>
          </a:r>
          <a:endParaRPr lang="en-US"/>
        </a:p>
      </dgm:t>
    </dgm:pt>
    <dgm:pt modelId="{F51A7CC1-2E7C-4622-97FA-BE8B91A3DF9F}" type="parTrans" cxnId="{4A2A3FA6-9B26-41D3-9706-AF66B5B9D7CD}">
      <dgm:prSet/>
      <dgm:spPr/>
      <dgm:t>
        <a:bodyPr/>
        <a:lstStyle/>
        <a:p>
          <a:endParaRPr lang="en-US"/>
        </a:p>
      </dgm:t>
    </dgm:pt>
    <dgm:pt modelId="{610BD2B5-C3A2-499A-B773-075F2630DE67}" type="sibTrans" cxnId="{4A2A3FA6-9B26-41D3-9706-AF66B5B9D7CD}">
      <dgm:prSet/>
      <dgm:spPr/>
      <dgm:t>
        <a:bodyPr/>
        <a:lstStyle/>
        <a:p>
          <a:endParaRPr lang="en-US"/>
        </a:p>
      </dgm:t>
    </dgm:pt>
    <dgm:pt modelId="{95B4EAB0-EF02-4CBA-B41C-995395EE3F9D}">
      <dgm:prSet/>
      <dgm:spPr/>
      <dgm:t>
        <a:bodyPr/>
        <a:lstStyle/>
        <a:p>
          <a:r>
            <a:rPr lang="en-US" baseline="0"/>
            <a:t>Servers - List by resource group</a:t>
          </a:r>
          <a:endParaRPr lang="en-US"/>
        </a:p>
      </dgm:t>
    </dgm:pt>
    <dgm:pt modelId="{F01CE195-E886-4AA8-B1AD-58E117272105}" type="parTrans" cxnId="{8692E30C-7A09-41B6-8897-E4B3C147E94C}">
      <dgm:prSet/>
      <dgm:spPr/>
      <dgm:t>
        <a:bodyPr/>
        <a:lstStyle/>
        <a:p>
          <a:endParaRPr lang="en-US"/>
        </a:p>
      </dgm:t>
    </dgm:pt>
    <dgm:pt modelId="{ED7FB01C-1C2C-4FFC-A66F-FFA6262AF244}" type="sibTrans" cxnId="{8692E30C-7A09-41B6-8897-E4B3C147E94C}">
      <dgm:prSet/>
      <dgm:spPr/>
      <dgm:t>
        <a:bodyPr/>
        <a:lstStyle/>
        <a:p>
          <a:endParaRPr lang="en-US"/>
        </a:p>
      </dgm:t>
    </dgm:pt>
    <dgm:pt modelId="{84D84247-F420-4E57-AEBF-1CAE8851BFEC}">
      <dgm:prSet/>
      <dgm:spPr/>
      <dgm:t>
        <a:bodyPr/>
        <a:lstStyle/>
        <a:p>
          <a:r>
            <a:rPr lang="en-US" baseline="0"/>
            <a:t>Servers - Update</a:t>
          </a:r>
          <a:endParaRPr lang="en-US"/>
        </a:p>
      </dgm:t>
    </dgm:pt>
    <dgm:pt modelId="{B2B22362-F804-4BE0-ABC9-E8F881359ADF}" type="parTrans" cxnId="{E750DFF5-41D7-4072-8225-9EEA8834EB84}">
      <dgm:prSet/>
      <dgm:spPr/>
      <dgm:t>
        <a:bodyPr/>
        <a:lstStyle/>
        <a:p>
          <a:endParaRPr lang="en-US"/>
        </a:p>
      </dgm:t>
    </dgm:pt>
    <dgm:pt modelId="{A7D5D48C-AF5B-4AF2-8C01-A4574A90028D}" type="sibTrans" cxnId="{E750DFF5-41D7-4072-8225-9EEA8834EB84}">
      <dgm:prSet/>
      <dgm:spPr/>
      <dgm:t>
        <a:bodyPr/>
        <a:lstStyle/>
        <a:p>
          <a:endParaRPr lang="en-US"/>
        </a:p>
      </dgm:t>
    </dgm:pt>
    <dgm:pt modelId="{03762731-1F0F-445E-831C-245EC6B9DC0F}">
      <dgm:prSet/>
      <dgm:spPr/>
      <dgm:t>
        <a:bodyPr/>
        <a:lstStyle/>
        <a:p>
          <a:r>
            <a:rPr lang="en-US" baseline="0"/>
            <a:t>Databases - Create or update</a:t>
          </a:r>
          <a:endParaRPr lang="en-US"/>
        </a:p>
      </dgm:t>
    </dgm:pt>
    <dgm:pt modelId="{709660D6-047E-4D65-AE76-F4EE54762B1E}" type="parTrans" cxnId="{22B14EB0-BC11-4A59-9349-21B3DA8F28B2}">
      <dgm:prSet/>
      <dgm:spPr/>
      <dgm:t>
        <a:bodyPr/>
        <a:lstStyle/>
        <a:p>
          <a:endParaRPr lang="en-US"/>
        </a:p>
      </dgm:t>
    </dgm:pt>
    <dgm:pt modelId="{13069D3D-549F-48A7-8D84-4A2C8D377590}" type="sibTrans" cxnId="{22B14EB0-BC11-4A59-9349-21B3DA8F28B2}">
      <dgm:prSet/>
      <dgm:spPr/>
      <dgm:t>
        <a:bodyPr/>
        <a:lstStyle/>
        <a:p>
          <a:endParaRPr lang="en-US"/>
        </a:p>
      </dgm:t>
    </dgm:pt>
    <dgm:pt modelId="{09EDC8CD-28C4-471C-9408-2F315A83125C}">
      <dgm:prSet/>
      <dgm:spPr/>
      <dgm:t>
        <a:bodyPr/>
        <a:lstStyle/>
        <a:p>
          <a:r>
            <a:rPr lang="en-US" baseline="0"/>
            <a:t>Databases - Delete</a:t>
          </a:r>
          <a:endParaRPr lang="en-US"/>
        </a:p>
      </dgm:t>
    </dgm:pt>
    <dgm:pt modelId="{F71C9B58-A261-4F23-9286-059A2BAEDD18}" type="parTrans" cxnId="{9D4D06DD-040E-4919-BB54-31E2EB430BF1}">
      <dgm:prSet/>
      <dgm:spPr/>
      <dgm:t>
        <a:bodyPr/>
        <a:lstStyle/>
        <a:p>
          <a:endParaRPr lang="en-US"/>
        </a:p>
      </dgm:t>
    </dgm:pt>
    <dgm:pt modelId="{5C6D5D65-60C1-4CC1-87F0-940BC3DC2A47}" type="sibTrans" cxnId="{9D4D06DD-040E-4919-BB54-31E2EB430BF1}">
      <dgm:prSet/>
      <dgm:spPr/>
      <dgm:t>
        <a:bodyPr/>
        <a:lstStyle/>
        <a:p>
          <a:endParaRPr lang="en-US"/>
        </a:p>
      </dgm:t>
    </dgm:pt>
    <dgm:pt modelId="{DB49D2A0-949F-4B20-A4E3-78A26C5E8E8E}">
      <dgm:prSet/>
      <dgm:spPr/>
      <dgm:t>
        <a:bodyPr/>
        <a:lstStyle/>
        <a:p>
          <a:r>
            <a:rPr lang="en-US" baseline="0"/>
            <a:t>Databases - Get</a:t>
          </a:r>
          <a:endParaRPr lang="en-US"/>
        </a:p>
      </dgm:t>
    </dgm:pt>
    <dgm:pt modelId="{3AF4204C-C6FD-4508-B714-D97E9CEE0547}" type="parTrans" cxnId="{746A7C29-72F9-4586-A891-3C842FC6A156}">
      <dgm:prSet/>
      <dgm:spPr/>
      <dgm:t>
        <a:bodyPr/>
        <a:lstStyle/>
        <a:p>
          <a:endParaRPr lang="en-US"/>
        </a:p>
      </dgm:t>
    </dgm:pt>
    <dgm:pt modelId="{A038C4E1-5E7F-4EF4-B9F0-ED6EC6134485}" type="sibTrans" cxnId="{746A7C29-72F9-4586-A891-3C842FC6A156}">
      <dgm:prSet/>
      <dgm:spPr/>
      <dgm:t>
        <a:bodyPr/>
        <a:lstStyle/>
        <a:p>
          <a:endParaRPr lang="en-US"/>
        </a:p>
      </dgm:t>
    </dgm:pt>
    <dgm:pt modelId="{55BA3176-ECFD-491C-8FDA-C682091DCC49}">
      <dgm:prSet/>
      <dgm:spPr/>
      <dgm:t>
        <a:bodyPr/>
        <a:lstStyle/>
        <a:p>
          <a:r>
            <a:rPr lang="en-US" baseline="0" dirty="0"/>
            <a:t>Databases - List by elastic pool</a:t>
          </a:r>
          <a:endParaRPr lang="en-US" dirty="0"/>
        </a:p>
      </dgm:t>
    </dgm:pt>
    <dgm:pt modelId="{59136E16-1139-4B84-A85F-3BA532954A61}" type="parTrans" cxnId="{FCF991D3-D797-4CBE-BEDC-3C9D1B3CE712}">
      <dgm:prSet/>
      <dgm:spPr/>
      <dgm:t>
        <a:bodyPr/>
        <a:lstStyle/>
        <a:p>
          <a:endParaRPr lang="en-US"/>
        </a:p>
      </dgm:t>
    </dgm:pt>
    <dgm:pt modelId="{F7D0C03B-0297-4F30-B5C5-7464E3EEE477}" type="sibTrans" cxnId="{FCF991D3-D797-4CBE-BEDC-3C9D1B3CE712}">
      <dgm:prSet/>
      <dgm:spPr/>
      <dgm:t>
        <a:bodyPr/>
        <a:lstStyle/>
        <a:p>
          <a:endParaRPr lang="en-US"/>
        </a:p>
      </dgm:t>
    </dgm:pt>
    <dgm:pt modelId="{9CDD6C85-C8BD-41FB-A6B5-FAA30B507794}">
      <dgm:prSet/>
      <dgm:spPr/>
      <dgm:t>
        <a:bodyPr/>
        <a:lstStyle/>
        <a:p>
          <a:r>
            <a:rPr lang="en-US" baseline="0"/>
            <a:t>Databases - List by server</a:t>
          </a:r>
          <a:endParaRPr lang="en-US"/>
        </a:p>
      </dgm:t>
    </dgm:pt>
    <dgm:pt modelId="{4488ABF8-765E-42E1-A288-507F8001E601}" type="parTrans" cxnId="{57963BDC-1C03-4D92-BF8B-CC7D11D3B00E}">
      <dgm:prSet/>
      <dgm:spPr/>
      <dgm:t>
        <a:bodyPr/>
        <a:lstStyle/>
        <a:p>
          <a:endParaRPr lang="en-US"/>
        </a:p>
      </dgm:t>
    </dgm:pt>
    <dgm:pt modelId="{23CE6D88-6A7C-423C-8927-53453A08E992}" type="sibTrans" cxnId="{57963BDC-1C03-4D92-BF8B-CC7D11D3B00E}">
      <dgm:prSet/>
      <dgm:spPr/>
      <dgm:t>
        <a:bodyPr/>
        <a:lstStyle/>
        <a:p>
          <a:endParaRPr lang="en-US"/>
        </a:p>
      </dgm:t>
    </dgm:pt>
    <dgm:pt modelId="{F11C0C6E-9CE8-4AD8-8861-5B12214E6757}">
      <dgm:prSet/>
      <dgm:spPr/>
      <dgm:t>
        <a:bodyPr/>
        <a:lstStyle/>
        <a:p>
          <a:r>
            <a:rPr lang="en-US" baseline="0"/>
            <a:t>Databases - Update</a:t>
          </a:r>
          <a:endParaRPr lang="en-US"/>
        </a:p>
      </dgm:t>
    </dgm:pt>
    <dgm:pt modelId="{D16F45FB-8169-4F8D-952F-478BB9A2D97D}" type="parTrans" cxnId="{0A7A2B74-882F-4000-BD39-AD28D7DFF6A2}">
      <dgm:prSet/>
      <dgm:spPr/>
      <dgm:t>
        <a:bodyPr/>
        <a:lstStyle/>
        <a:p>
          <a:endParaRPr lang="en-US"/>
        </a:p>
      </dgm:t>
    </dgm:pt>
    <dgm:pt modelId="{99D06628-413D-4F90-B7E4-2D6935D11D8E}" type="sibTrans" cxnId="{0A7A2B74-882F-4000-BD39-AD28D7DFF6A2}">
      <dgm:prSet/>
      <dgm:spPr/>
      <dgm:t>
        <a:bodyPr/>
        <a:lstStyle/>
        <a:p>
          <a:endParaRPr lang="en-US"/>
        </a:p>
      </dgm:t>
    </dgm:pt>
    <dgm:pt modelId="{3E104F0B-8FEB-4307-AC8A-2E3AE04EAA22}">
      <dgm:prSet/>
      <dgm:spPr/>
      <dgm:t>
        <a:bodyPr/>
        <a:lstStyle/>
        <a:p>
          <a:r>
            <a:rPr lang="en-US" baseline="0"/>
            <a:t>Firewall rules - Create or update</a:t>
          </a:r>
          <a:endParaRPr lang="en-US"/>
        </a:p>
      </dgm:t>
    </dgm:pt>
    <dgm:pt modelId="{3BA70698-7D8E-4D95-B422-7768D6A9A1F2}" type="parTrans" cxnId="{1954EC35-3FBC-4CF5-BFA4-CFEEA042EBAC}">
      <dgm:prSet/>
      <dgm:spPr/>
      <dgm:t>
        <a:bodyPr/>
        <a:lstStyle/>
        <a:p>
          <a:endParaRPr lang="en-US"/>
        </a:p>
      </dgm:t>
    </dgm:pt>
    <dgm:pt modelId="{F09B7FB1-D517-4ECC-B54C-9C812D2571C2}" type="sibTrans" cxnId="{1954EC35-3FBC-4CF5-BFA4-CFEEA042EBAC}">
      <dgm:prSet/>
      <dgm:spPr/>
      <dgm:t>
        <a:bodyPr/>
        <a:lstStyle/>
        <a:p>
          <a:endParaRPr lang="en-US"/>
        </a:p>
      </dgm:t>
    </dgm:pt>
    <dgm:pt modelId="{AB33CBD0-38FD-430E-8D48-75349E13C27F}">
      <dgm:prSet/>
      <dgm:spPr/>
      <dgm:t>
        <a:bodyPr/>
        <a:lstStyle/>
        <a:p>
          <a:r>
            <a:rPr lang="en-US" baseline="0"/>
            <a:t>Firewall rules - Delete</a:t>
          </a:r>
          <a:endParaRPr lang="en-US"/>
        </a:p>
      </dgm:t>
    </dgm:pt>
    <dgm:pt modelId="{08BC1FDE-4870-458E-97EC-D6283240659D}" type="parTrans" cxnId="{3DBDC2E6-CFF0-4074-9D58-09E3C69B3E5C}">
      <dgm:prSet/>
      <dgm:spPr/>
      <dgm:t>
        <a:bodyPr/>
        <a:lstStyle/>
        <a:p>
          <a:endParaRPr lang="en-US"/>
        </a:p>
      </dgm:t>
    </dgm:pt>
    <dgm:pt modelId="{47E4DC64-8C6A-468E-B1DB-507318CC6C75}" type="sibTrans" cxnId="{3DBDC2E6-CFF0-4074-9D58-09E3C69B3E5C}">
      <dgm:prSet/>
      <dgm:spPr/>
      <dgm:t>
        <a:bodyPr/>
        <a:lstStyle/>
        <a:p>
          <a:endParaRPr lang="en-US"/>
        </a:p>
      </dgm:t>
    </dgm:pt>
    <dgm:pt modelId="{AAD178DF-11B3-402D-8C02-10ED83D20909}">
      <dgm:prSet/>
      <dgm:spPr/>
      <dgm:t>
        <a:bodyPr/>
        <a:lstStyle/>
        <a:p>
          <a:r>
            <a:rPr lang="en-US" baseline="0"/>
            <a:t>Firewall rules - Get</a:t>
          </a:r>
          <a:endParaRPr lang="en-US"/>
        </a:p>
      </dgm:t>
    </dgm:pt>
    <dgm:pt modelId="{21235D04-2F80-4D5A-B9BB-2E232893B7A7}" type="parTrans" cxnId="{2F0050AB-25A1-4C93-B5AC-3903170C00A5}">
      <dgm:prSet/>
      <dgm:spPr/>
      <dgm:t>
        <a:bodyPr/>
        <a:lstStyle/>
        <a:p>
          <a:endParaRPr lang="en-US"/>
        </a:p>
      </dgm:t>
    </dgm:pt>
    <dgm:pt modelId="{76648321-B37A-406E-B73E-CA9E6B39ECD8}" type="sibTrans" cxnId="{2F0050AB-25A1-4C93-B5AC-3903170C00A5}">
      <dgm:prSet/>
      <dgm:spPr/>
      <dgm:t>
        <a:bodyPr/>
        <a:lstStyle/>
        <a:p>
          <a:endParaRPr lang="en-US"/>
        </a:p>
      </dgm:t>
    </dgm:pt>
    <dgm:pt modelId="{41D7F0F1-1627-4066-84AE-EC653F23B44B}">
      <dgm:prSet/>
      <dgm:spPr/>
      <dgm:t>
        <a:bodyPr/>
        <a:lstStyle/>
        <a:p>
          <a:r>
            <a:rPr lang="en-US" baseline="0"/>
            <a:t>Firewall rules - List by server</a:t>
          </a:r>
          <a:endParaRPr lang="en-US"/>
        </a:p>
      </dgm:t>
    </dgm:pt>
    <dgm:pt modelId="{87B8CA1C-7581-41B4-8262-1CBA3D084626}" type="parTrans" cxnId="{88A6504E-BD27-4076-A695-3062393A3C0D}">
      <dgm:prSet/>
      <dgm:spPr/>
      <dgm:t>
        <a:bodyPr/>
        <a:lstStyle/>
        <a:p>
          <a:endParaRPr lang="en-US"/>
        </a:p>
      </dgm:t>
    </dgm:pt>
    <dgm:pt modelId="{1EF66A84-1153-48CA-B3DA-C5273773AF53}" type="sibTrans" cxnId="{88A6504E-BD27-4076-A695-3062393A3C0D}">
      <dgm:prSet/>
      <dgm:spPr/>
      <dgm:t>
        <a:bodyPr/>
        <a:lstStyle/>
        <a:p>
          <a:endParaRPr lang="en-US"/>
        </a:p>
      </dgm:t>
    </dgm:pt>
    <dgm:pt modelId="{EEAAF628-83CA-4217-99E1-BF5A1290EA7C}" type="pres">
      <dgm:prSet presAssocID="{AE3C265C-2285-4DBD-853C-DF9920409CF6}" presName="linear" presStyleCnt="0">
        <dgm:presLayoutVars>
          <dgm:animLvl val="lvl"/>
          <dgm:resizeHandles val="exact"/>
        </dgm:presLayoutVars>
      </dgm:prSet>
      <dgm:spPr/>
    </dgm:pt>
    <dgm:pt modelId="{BF02BE72-AFC4-4B48-890F-94F7194F6900}" type="pres">
      <dgm:prSet presAssocID="{AACDC148-558A-459E-A549-D29AC288ADC8}" presName="parentText" presStyleLbl="node1" presStyleIdx="0" presStyleCnt="1">
        <dgm:presLayoutVars>
          <dgm:chMax val="0"/>
          <dgm:bulletEnabled val="1"/>
        </dgm:presLayoutVars>
      </dgm:prSet>
      <dgm:spPr/>
    </dgm:pt>
    <dgm:pt modelId="{12EB56A5-A09C-44DB-B55E-FDBE35979818}" type="pres">
      <dgm:prSet presAssocID="{AACDC148-558A-459E-A549-D29AC288ADC8}" presName="childText" presStyleLbl="revTx" presStyleIdx="0" presStyleCnt="1">
        <dgm:presLayoutVars>
          <dgm:bulletEnabled val="1"/>
        </dgm:presLayoutVars>
      </dgm:prSet>
      <dgm:spPr/>
    </dgm:pt>
  </dgm:ptLst>
  <dgm:cxnLst>
    <dgm:cxn modelId="{8057B900-2765-4532-B08B-CAE51C3D197D}" type="presOf" srcId="{9CDD6C85-C8BD-41FB-A6B5-FAA30B507794}" destId="{12EB56A5-A09C-44DB-B55E-FDBE35979818}" srcOrd="0" destOrd="10" presId="urn:microsoft.com/office/officeart/2005/8/layout/vList2"/>
    <dgm:cxn modelId="{8692E30C-7A09-41B6-8897-E4B3C147E94C}" srcId="{AACDC148-558A-459E-A549-D29AC288ADC8}" destId="{95B4EAB0-EF02-4CBA-B41C-995395EE3F9D}" srcOrd="4" destOrd="0" parTransId="{F01CE195-E886-4AA8-B1AD-58E117272105}" sibTransId="{ED7FB01C-1C2C-4FFC-A66F-FFA6262AF244}"/>
    <dgm:cxn modelId="{5712280D-F627-4196-B347-1A0DB60F5867}" type="presOf" srcId="{4AC10794-6661-4E6B-B0D7-0D135D4EA2E6}" destId="{12EB56A5-A09C-44DB-B55E-FDBE35979818}" srcOrd="0" destOrd="0" presId="urn:microsoft.com/office/officeart/2005/8/layout/vList2"/>
    <dgm:cxn modelId="{DECC2214-157A-44A1-AD02-B9B63A58B077}" type="presOf" srcId="{DB49D2A0-949F-4B20-A4E3-78A26C5E8E8E}" destId="{12EB56A5-A09C-44DB-B55E-FDBE35979818}" srcOrd="0" destOrd="8" presId="urn:microsoft.com/office/officeart/2005/8/layout/vList2"/>
    <dgm:cxn modelId="{C2042019-0835-4898-BA35-DC30844FC805}" type="presOf" srcId="{DFF07C30-C7B1-433F-BF9C-15D1E8594712}" destId="{12EB56A5-A09C-44DB-B55E-FDBE35979818}" srcOrd="0" destOrd="1" presId="urn:microsoft.com/office/officeart/2005/8/layout/vList2"/>
    <dgm:cxn modelId="{746A7C29-72F9-4586-A891-3C842FC6A156}" srcId="{AACDC148-558A-459E-A549-D29AC288ADC8}" destId="{DB49D2A0-949F-4B20-A4E3-78A26C5E8E8E}" srcOrd="8" destOrd="0" parTransId="{3AF4204C-C6FD-4508-B714-D97E9CEE0547}" sibTransId="{A038C4E1-5E7F-4EF4-B9F0-ED6EC6134485}"/>
    <dgm:cxn modelId="{3487B531-C83E-48EA-A791-FD8E5AC1F5A1}" type="presOf" srcId="{AACDC148-558A-459E-A549-D29AC288ADC8}" destId="{BF02BE72-AFC4-4B48-890F-94F7194F6900}" srcOrd="0" destOrd="0" presId="urn:microsoft.com/office/officeart/2005/8/layout/vList2"/>
    <dgm:cxn modelId="{3E4D4134-CAB7-4E2E-B4A9-BF1D37247E00}" srcId="{AACDC148-558A-459E-A549-D29AC288ADC8}" destId="{13DAD8FF-3896-4B12-9504-4BC802E4C5EF}" srcOrd="2" destOrd="0" parTransId="{C77D1BB5-119A-41CF-ACDD-93A1DBE323BB}" sibTransId="{8A509F83-1916-487A-BBD6-EE97DCD3A710}"/>
    <dgm:cxn modelId="{1954EC35-3FBC-4CF5-BFA4-CFEEA042EBAC}" srcId="{AACDC148-558A-459E-A549-D29AC288ADC8}" destId="{3E104F0B-8FEB-4307-AC8A-2E3AE04EAA22}" srcOrd="12" destOrd="0" parTransId="{3BA70698-7D8E-4D95-B422-7768D6A9A1F2}" sibTransId="{F09B7FB1-D517-4ECC-B54C-9C812D2571C2}"/>
    <dgm:cxn modelId="{4873CE40-993B-49C7-BF7C-1010E2AC7D2E}" type="presOf" srcId="{491CED8F-EF98-4B23-ACAE-C9821FAADFC7}" destId="{12EB56A5-A09C-44DB-B55E-FDBE35979818}" srcOrd="0" destOrd="3" presId="urn:microsoft.com/office/officeart/2005/8/layout/vList2"/>
    <dgm:cxn modelId="{4E82CD5E-D60A-4387-9373-C7BB4F41AA39}" type="presOf" srcId="{AB33CBD0-38FD-430E-8D48-75349E13C27F}" destId="{12EB56A5-A09C-44DB-B55E-FDBE35979818}" srcOrd="0" destOrd="13" presId="urn:microsoft.com/office/officeart/2005/8/layout/vList2"/>
    <dgm:cxn modelId="{533D8A60-5581-4CD3-BBE6-ED622068011E}" srcId="{AE3C265C-2285-4DBD-853C-DF9920409CF6}" destId="{AACDC148-558A-459E-A549-D29AC288ADC8}" srcOrd="0" destOrd="0" parTransId="{D625271E-1F15-44C4-B087-78CF7FFE9E48}" sibTransId="{EF2FD4DD-C870-49D0-8A44-D2414E5E4ED8}"/>
    <dgm:cxn modelId="{7E613966-6CC6-491D-823A-5533374CFF81}" type="presOf" srcId="{95B4EAB0-EF02-4CBA-B41C-995395EE3F9D}" destId="{12EB56A5-A09C-44DB-B55E-FDBE35979818}" srcOrd="0" destOrd="4" presId="urn:microsoft.com/office/officeart/2005/8/layout/vList2"/>
    <dgm:cxn modelId="{53E0FC6B-875E-48EF-AD3C-93652BC6ED76}" type="presOf" srcId="{13DAD8FF-3896-4B12-9504-4BC802E4C5EF}" destId="{12EB56A5-A09C-44DB-B55E-FDBE35979818}" srcOrd="0" destOrd="2" presId="urn:microsoft.com/office/officeart/2005/8/layout/vList2"/>
    <dgm:cxn modelId="{476D0D6E-4B40-482F-B624-4A995E891200}" type="presOf" srcId="{3E104F0B-8FEB-4307-AC8A-2E3AE04EAA22}" destId="{12EB56A5-A09C-44DB-B55E-FDBE35979818}" srcOrd="0" destOrd="12" presId="urn:microsoft.com/office/officeart/2005/8/layout/vList2"/>
    <dgm:cxn modelId="{88A6504E-BD27-4076-A695-3062393A3C0D}" srcId="{AACDC148-558A-459E-A549-D29AC288ADC8}" destId="{41D7F0F1-1627-4066-84AE-EC653F23B44B}" srcOrd="15" destOrd="0" parTransId="{87B8CA1C-7581-41B4-8262-1CBA3D084626}" sibTransId="{1EF66A84-1153-48CA-B3DA-C5273773AF53}"/>
    <dgm:cxn modelId="{826EBF6E-3907-4C9D-81E0-750F06A70227}" type="presOf" srcId="{55BA3176-ECFD-491C-8FDA-C682091DCC49}" destId="{12EB56A5-A09C-44DB-B55E-FDBE35979818}" srcOrd="0" destOrd="9" presId="urn:microsoft.com/office/officeart/2005/8/layout/vList2"/>
    <dgm:cxn modelId="{DF796E50-218F-4AEC-8903-DC117063323B}" type="presOf" srcId="{AE3C265C-2285-4DBD-853C-DF9920409CF6}" destId="{EEAAF628-83CA-4217-99E1-BF5A1290EA7C}" srcOrd="0" destOrd="0" presId="urn:microsoft.com/office/officeart/2005/8/layout/vList2"/>
    <dgm:cxn modelId="{4776D651-8FEF-4422-BCD3-AB822A7603A6}" type="presOf" srcId="{09EDC8CD-28C4-471C-9408-2F315A83125C}" destId="{12EB56A5-A09C-44DB-B55E-FDBE35979818}" srcOrd="0" destOrd="7" presId="urn:microsoft.com/office/officeart/2005/8/layout/vList2"/>
    <dgm:cxn modelId="{0A7A2B74-882F-4000-BD39-AD28D7DFF6A2}" srcId="{AACDC148-558A-459E-A549-D29AC288ADC8}" destId="{F11C0C6E-9CE8-4AD8-8861-5B12214E6757}" srcOrd="11" destOrd="0" parTransId="{D16F45FB-8169-4F8D-952F-478BB9A2D97D}" sibTransId="{99D06628-413D-4F90-B7E4-2D6935D11D8E}"/>
    <dgm:cxn modelId="{622DA482-838C-4D1F-A015-0F22B3601608}" srcId="{AACDC148-558A-459E-A549-D29AC288ADC8}" destId="{4AC10794-6661-4E6B-B0D7-0D135D4EA2E6}" srcOrd="0" destOrd="0" parTransId="{C9D66120-D210-4F78-A66D-F63DF62156BE}" sibTransId="{189F1BD0-1B8D-4AEA-9A2C-79847069B620}"/>
    <dgm:cxn modelId="{4855B487-438A-4904-A334-D9492233A3BB}" type="presOf" srcId="{F11C0C6E-9CE8-4AD8-8861-5B12214E6757}" destId="{12EB56A5-A09C-44DB-B55E-FDBE35979818}" srcOrd="0" destOrd="11" presId="urn:microsoft.com/office/officeart/2005/8/layout/vList2"/>
    <dgm:cxn modelId="{34E7F098-8C1F-45A7-9209-CE7B0F36D431}" type="presOf" srcId="{41D7F0F1-1627-4066-84AE-EC653F23B44B}" destId="{12EB56A5-A09C-44DB-B55E-FDBE35979818}" srcOrd="0" destOrd="15" presId="urn:microsoft.com/office/officeart/2005/8/layout/vList2"/>
    <dgm:cxn modelId="{4A2A3FA6-9B26-41D3-9706-AF66B5B9D7CD}" srcId="{AACDC148-558A-459E-A549-D29AC288ADC8}" destId="{491CED8F-EF98-4B23-ACAE-C9821FAADFC7}" srcOrd="3" destOrd="0" parTransId="{F51A7CC1-2E7C-4622-97FA-BE8B91A3DF9F}" sibTransId="{610BD2B5-C3A2-499A-B773-075F2630DE67}"/>
    <dgm:cxn modelId="{2F0050AB-25A1-4C93-B5AC-3903170C00A5}" srcId="{AACDC148-558A-459E-A549-D29AC288ADC8}" destId="{AAD178DF-11B3-402D-8C02-10ED83D20909}" srcOrd="14" destOrd="0" parTransId="{21235D04-2F80-4D5A-B9BB-2E232893B7A7}" sibTransId="{76648321-B37A-406E-B73E-CA9E6B39ECD8}"/>
    <dgm:cxn modelId="{22B14EB0-BC11-4A59-9349-21B3DA8F28B2}" srcId="{AACDC148-558A-459E-A549-D29AC288ADC8}" destId="{03762731-1F0F-445E-831C-245EC6B9DC0F}" srcOrd="6" destOrd="0" parTransId="{709660D6-047E-4D65-AE76-F4EE54762B1E}" sibTransId="{13069D3D-549F-48A7-8D84-4A2C8D377590}"/>
    <dgm:cxn modelId="{CD4534C3-F662-4CFD-A585-D64960E0DE54}" srcId="{AACDC148-558A-459E-A549-D29AC288ADC8}" destId="{DFF07C30-C7B1-433F-BF9C-15D1E8594712}" srcOrd="1" destOrd="0" parTransId="{1F0F8188-C8C5-4B65-B3C6-9C6C1D29AD70}" sibTransId="{0B00334C-3E43-4E2A-8698-565E0C0D1C76}"/>
    <dgm:cxn modelId="{FCF991D3-D797-4CBE-BEDC-3C9D1B3CE712}" srcId="{AACDC148-558A-459E-A549-D29AC288ADC8}" destId="{55BA3176-ECFD-491C-8FDA-C682091DCC49}" srcOrd="9" destOrd="0" parTransId="{59136E16-1139-4B84-A85F-3BA532954A61}" sibTransId="{F7D0C03B-0297-4F30-B5C5-7464E3EEE477}"/>
    <dgm:cxn modelId="{B154A9DA-FF18-4F9A-A0D1-C4CCE56EBFC9}" type="presOf" srcId="{03762731-1F0F-445E-831C-245EC6B9DC0F}" destId="{12EB56A5-A09C-44DB-B55E-FDBE35979818}" srcOrd="0" destOrd="6" presId="urn:microsoft.com/office/officeart/2005/8/layout/vList2"/>
    <dgm:cxn modelId="{57963BDC-1C03-4D92-BF8B-CC7D11D3B00E}" srcId="{AACDC148-558A-459E-A549-D29AC288ADC8}" destId="{9CDD6C85-C8BD-41FB-A6B5-FAA30B507794}" srcOrd="10" destOrd="0" parTransId="{4488ABF8-765E-42E1-A288-507F8001E601}" sibTransId="{23CE6D88-6A7C-423C-8927-53453A08E992}"/>
    <dgm:cxn modelId="{9D4D06DD-040E-4919-BB54-31E2EB430BF1}" srcId="{AACDC148-558A-459E-A549-D29AC288ADC8}" destId="{09EDC8CD-28C4-471C-9408-2F315A83125C}" srcOrd="7" destOrd="0" parTransId="{F71C9B58-A261-4F23-9286-059A2BAEDD18}" sibTransId="{5C6D5D65-60C1-4CC1-87F0-940BC3DC2A47}"/>
    <dgm:cxn modelId="{3DBDC2E6-CFF0-4074-9D58-09E3C69B3E5C}" srcId="{AACDC148-558A-459E-A549-D29AC288ADC8}" destId="{AB33CBD0-38FD-430E-8D48-75349E13C27F}" srcOrd="13" destOrd="0" parTransId="{08BC1FDE-4870-458E-97EC-D6283240659D}" sibTransId="{47E4DC64-8C6A-468E-B1DB-507318CC6C75}"/>
    <dgm:cxn modelId="{E750DFF5-41D7-4072-8225-9EEA8834EB84}" srcId="{AACDC148-558A-459E-A549-D29AC288ADC8}" destId="{84D84247-F420-4E57-AEBF-1CAE8851BFEC}" srcOrd="5" destOrd="0" parTransId="{B2B22362-F804-4BE0-ABC9-E8F881359ADF}" sibTransId="{A7D5D48C-AF5B-4AF2-8C01-A4574A90028D}"/>
    <dgm:cxn modelId="{3FE685FD-7B12-4DFD-A35D-7DD5C6498586}" type="presOf" srcId="{84D84247-F420-4E57-AEBF-1CAE8851BFEC}" destId="{12EB56A5-A09C-44DB-B55E-FDBE35979818}" srcOrd="0" destOrd="5" presId="urn:microsoft.com/office/officeart/2005/8/layout/vList2"/>
    <dgm:cxn modelId="{B70C5FFE-9C40-411C-A541-1603464182DF}" type="presOf" srcId="{AAD178DF-11B3-402D-8C02-10ED83D20909}" destId="{12EB56A5-A09C-44DB-B55E-FDBE35979818}" srcOrd="0" destOrd="14" presId="urn:microsoft.com/office/officeart/2005/8/layout/vList2"/>
    <dgm:cxn modelId="{DEB21933-6459-4734-A09B-D369D3FB3855}" type="presParOf" srcId="{EEAAF628-83CA-4217-99E1-BF5A1290EA7C}" destId="{BF02BE72-AFC4-4B48-890F-94F7194F6900}" srcOrd="0" destOrd="0" presId="urn:microsoft.com/office/officeart/2005/8/layout/vList2"/>
    <dgm:cxn modelId="{16672B27-1539-4CF6-B455-C271DD6AA8E1}" type="presParOf" srcId="{EEAAF628-83CA-4217-99E1-BF5A1290EA7C}" destId="{12EB56A5-A09C-44DB-B55E-FDBE35979818}" srcOrd="1"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dirty="0">
              <a:solidFill>
                <a:srgbClr val="FFFFFF"/>
              </a:solidFill>
            </a:rPr>
            <a:t>What are the different tools that you can use to manage your Azure SQL Database?</a:t>
          </a:r>
          <a:endParaRPr lang="en-US" sz="2400" dirty="0"/>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D2B58AB3-7333-412A-88FC-908744276A5C}">
      <dgm:prSet custT="1"/>
      <dgm:spPr/>
      <dgm:t>
        <a:bodyPr/>
        <a:lstStyle/>
        <a:p>
          <a:pPr>
            <a:buFont typeface="Arial" panose="020B0604020202020204" pitchFamily="34" charset="0"/>
            <a:buChar char="•"/>
          </a:pPr>
          <a:r>
            <a:rPr lang="en-US" sz="2400" dirty="0">
              <a:solidFill>
                <a:srgbClr val="FFFFFF"/>
              </a:solidFill>
            </a:rPr>
            <a:t>What is the main recommendation to connect to Azure SQL databases regarding the version of the tools?</a:t>
          </a:r>
          <a:endParaRPr lang="en-US" sz="2400" dirty="0"/>
        </a:p>
      </dgm:t>
    </dgm:pt>
    <dgm:pt modelId="{73BD3177-F493-4B54-A926-D80CF904A7BC}" type="parTrans" cxnId="{27787541-4B31-4C47-86B9-C2F134ABE16F}">
      <dgm:prSet/>
      <dgm:spPr/>
      <dgm:t>
        <a:bodyPr/>
        <a:lstStyle/>
        <a:p>
          <a:endParaRPr lang="en-US"/>
        </a:p>
      </dgm:t>
    </dgm:pt>
    <dgm:pt modelId="{737158B2-96BA-4235-AD0C-90D3F91B24DA}" type="sibTrans" cxnId="{27787541-4B31-4C47-86B9-C2F134ABE16F}">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2">
        <dgm:presLayoutVars>
          <dgm:chMax val="0"/>
          <dgm:bulletEnabled val="1"/>
        </dgm:presLayoutVars>
      </dgm:prSet>
      <dgm:spPr/>
    </dgm:pt>
    <dgm:pt modelId="{C612FDE1-CA0B-4448-B2A9-6EB44CD0983E}" type="pres">
      <dgm:prSet presAssocID="{CAE4D9F8-FDBB-4525-9125-6BAF56328FCE}" presName="spacer" presStyleCnt="0"/>
      <dgm:spPr/>
    </dgm:pt>
    <dgm:pt modelId="{B9379030-5186-49D6-8048-84D114E616B4}" type="pres">
      <dgm:prSet presAssocID="{D2B58AB3-7333-412A-88FC-908744276A5C}" presName="parentText" presStyleLbl="node1" presStyleIdx="1" presStyleCnt="2">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27787541-4B31-4C47-86B9-C2F134ABE16F}" srcId="{15A7774C-B622-4F48-8F7B-AF1AAB74E997}" destId="{D2B58AB3-7333-412A-88FC-908744276A5C}" srcOrd="1" destOrd="0" parTransId="{73BD3177-F493-4B54-A926-D80CF904A7BC}" sibTransId="{737158B2-96BA-4235-AD0C-90D3F91B24DA}"/>
    <dgm:cxn modelId="{E58E8464-D4A4-4E8C-ADF4-F1F73AE66CB6}" type="presOf" srcId="{D2B58AB3-7333-412A-88FC-908744276A5C}" destId="{B9379030-5186-49D6-8048-84D114E616B4}" srcOrd="0" destOrd="0" presId="urn:microsoft.com/office/officeart/2005/8/layout/vList2"/>
    <dgm:cxn modelId="{4BB646B5-2A6D-439D-A88F-AC928930541F}" srcId="{15A7774C-B622-4F48-8F7B-AF1AAB74E997}" destId="{CDCA19B1-3B45-4B24-8F19-085A650701BC}" srcOrd="0" destOrd="0" parTransId="{74BFB16A-6DC3-47DD-AE97-F15F596B23DF}" sibTransId="{CAE4D9F8-FDBB-4525-9125-6BAF56328FCE}"/>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A8BD47A0-5472-4A84-B2AB-25D976983749}" type="presParOf" srcId="{97400BD5-14CE-4761-8A6A-64BC46D23158}" destId="{B9379030-5186-49D6-8048-84D114E616B4}"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66BA8A08-8A95-4770-808C-3A4678B2B7C9}" type="doc">
      <dgm:prSet loTypeId="urn:microsoft.com/office/officeart/2005/8/layout/vList2" loCatId="list" qsTypeId="urn:microsoft.com/office/officeart/2005/8/quickstyle/simple1" qsCatId="simple" csTypeId="urn:microsoft.com/office/officeart/2005/8/colors/accent0_3" csCatId="mainScheme"/>
      <dgm:spPr/>
      <dgm:t>
        <a:bodyPr/>
        <a:lstStyle/>
        <a:p>
          <a:endParaRPr lang="en-US"/>
        </a:p>
      </dgm:t>
    </dgm:pt>
    <dgm:pt modelId="{C0EFE3B8-B633-404F-AA0E-1434628AA957}">
      <dgm:prSet custT="1"/>
      <dgm:spPr/>
      <dgm:t>
        <a:bodyPr/>
        <a:lstStyle/>
        <a:p>
          <a:r>
            <a:rPr lang="en-US" sz="2400" baseline="0" dirty="0"/>
            <a:t>PowerShell</a:t>
          </a:r>
          <a:endParaRPr lang="en-US" sz="2400" dirty="0"/>
        </a:p>
      </dgm:t>
    </dgm:pt>
    <dgm:pt modelId="{5EFF0955-76F5-442F-8703-6199E8FCC48B}" type="parTrans" cxnId="{1187067B-0B6E-430C-A8DF-4AC14DA71800}">
      <dgm:prSet/>
      <dgm:spPr/>
      <dgm:t>
        <a:bodyPr/>
        <a:lstStyle/>
        <a:p>
          <a:endParaRPr lang="en-US"/>
        </a:p>
      </dgm:t>
    </dgm:pt>
    <dgm:pt modelId="{068B0316-1B9A-49A9-8C53-4B9E6826C9A1}" type="sibTrans" cxnId="{1187067B-0B6E-430C-A8DF-4AC14DA71800}">
      <dgm:prSet/>
      <dgm:spPr/>
      <dgm:t>
        <a:bodyPr/>
        <a:lstStyle/>
        <a:p>
          <a:endParaRPr lang="en-US"/>
        </a:p>
      </dgm:t>
    </dgm:pt>
    <dgm:pt modelId="{7AA261E6-0072-4448-84EA-59236AD8E93A}">
      <dgm:prSet custT="1"/>
      <dgm:spPr/>
      <dgm:t>
        <a:bodyPr/>
        <a:lstStyle/>
        <a:p>
          <a:r>
            <a:rPr lang="en-US" sz="2000" baseline="0" dirty="0"/>
            <a:t>Set-</a:t>
          </a:r>
          <a:r>
            <a:rPr lang="en-US" sz="2000" baseline="0" dirty="0" err="1"/>
            <a:t>AzSqlDatabase</a:t>
          </a:r>
          <a:endParaRPr lang="en-US" sz="2000" dirty="0"/>
        </a:p>
      </dgm:t>
    </dgm:pt>
    <dgm:pt modelId="{079660E7-870D-4972-9B9A-E1FBC521894C}" type="parTrans" cxnId="{0320E1C2-1012-4237-A6B4-CFB6C7FA82BC}">
      <dgm:prSet/>
      <dgm:spPr/>
      <dgm:t>
        <a:bodyPr/>
        <a:lstStyle/>
        <a:p>
          <a:endParaRPr lang="en-US"/>
        </a:p>
      </dgm:t>
    </dgm:pt>
    <dgm:pt modelId="{2DCFA3EE-61C9-4FCD-8A19-3380D57B7F86}" type="sibTrans" cxnId="{0320E1C2-1012-4237-A6B4-CFB6C7FA82BC}">
      <dgm:prSet/>
      <dgm:spPr/>
      <dgm:t>
        <a:bodyPr/>
        <a:lstStyle/>
        <a:p>
          <a:endParaRPr lang="en-US"/>
        </a:p>
      </dgm:t>
    </dgm:pt>
    <dgm:pt modelId="{89B18726-44E6-48D3-BFC4-D4F4A6B09AE5}">
      <dgm:prSet custT="1"/>
      <dgm:spPr/>
      <dgm:t>
        <a:bodyPr/>
        <a:lstStyle/>
        <a:p>
          <a:r>
            <a:rPr lang="en-US" sz="2400" baseline="0" dirty="0"/>
            <a:t>REST</a:t>
          </a:r>
          <a:endParaRPr lang="en-US" sz="2400" dirty="0"/>
        </a:p>
      </dgm:t>
    </dgm:pt>
    <dgm:pt modelId="{22654B07-8A16-43DE-9EB5-3E5170A60730}" type="parTrans" cxnId="{849A32D5-8710-4961-88C9-1C03F636D5D4}">
      <dgm:prSet/>
      <dgm:spPr/>
      <dgm:t>
        <a:bodyPr/>
        <a:lstStyle/>
        <a:p>
          <a:endParaRPr lang="en-US"/>
        </a:p>
      </dgm:t>
    </dgm:pt>
    <dgm:pt modelId="{912579E7-6050-4FC4-8148-0FC6BEE84012}" type="sibTrans" cxnId="{849A32D5-8710-4961-88C9-1C03F636D5D4}">
      <dgm:prSet/>
      <dgm:spPr/>
      <dgm:t>
        <a:bodyPr/>
        <a:lstStyle/>
        <a:p>
          <a:endParaRPr lang="en-US"/>
        </a:p>
      </dgm:t>
    </dgm:pt>
    <dgm:pt modelId="{5995C2FD-F367-4342-93E4-C38E1A72E8FA}">
      <dgm:prSet custT="1"/>
      <dgm:spPr/>
      <dgm:t>
        <a:bodyPr/>
        <a:lstStyle/>
        <a:p>
          <a:r>
            <a:rPr lang="en-US" sz="2000" baseline="0" dirty="0"/>
            <a:t>Update database</a:t>
          </a:r>
          <a:endParaRPr lang="en-US" sz="2000" dirty="0"/>
        </a:p>
      </dgm:t>
    </dgm:pt>
    <dgm:pt modelId="{E3635DDD-CEEF-4875-8A4D-F45E1B81D96C}" type="parTrans" cxnId="{0B56C2EF-EC3E-4F83-B815-599F8803D548}">
      <dgm:prSet/>
      <dgm:spPr/>
      <dgm:t>
        <a:bodyPr/>
        <a:lstStyle/>
        <a:p>
          <a:endParaRPr lang="en-US"/>
        </a:p>
      </dgm:t>
    </dgm:pt>
    <dgm:pt modelId="{B349F384-C6C5-4BC8-A64B-2E1D5B98DE0F}" type="sibTrans" cxnId="{0B56C2EF-EC3E-4F83-B815-599F8803D548}">
      <dgm:prSet/>
      <dgm:spPr/>
      <dgm:t>
        <a:bodyPr/>
        <a:lstStyle/>
        <a:p>
          <a:endParaRPr lang="en-US"/>
        </a:p>
      </dgm:t>
    </dgm:pt>
    <dgm:pt modelId="{0A0A7117-436E-4ECF-84FD-42FB7EA50312}">
      <dgm:prSet custT="1"/>
      <dgm:spPr/>
      <dgm:t>
        <a:bodyPr/>
        <a:lstStyle/>
        <a:p>
          <a:r>
            <a:rPr lang="en-US" sz="2400" baseline="0" dirty="0"/>
            <a:t>Azure CLI</a:t>
          </a:r>
          <a:endParaRPr lang="en-US" sz="2400" dirty="0"/>
        </a:p>
      </dgm:t>
    </dgm:pt>
    <dgm:pt modelId="{2699208A-C58A-41E4-8242-5D8597D6BDE6}" type="parTrans" cxnId="{6DC0A238-CF37-4BE6-85EB-F90D3CFB0F23}">
      <dgm:prSet/>
      <dgm:spPr/>
      <dgm:t>
        <a:bodyPr/>
        <a:lstStyle/>
        <a:p>
          <a:endParaRPr lang="en-US"/>
        </a:p>
      </dgm:t>
    </dgm:pt>
    <dgm:pt modelId="{88D2414F-149C-429F-8DC5-8A44D9014D5F}" type="sibTrans" cxnId="{6DC0A238-CF37-4BE6-85EB-F90D3CFB0F23}">
      <dgm:prSet/>
      <dgm:spPr/>
      <dgm:t>
        <a:bodyPr/>
        <a:lstStyle/>
        <a:p>
          <a:endParaRPr lang="en-US"/>
        </a:p>
      </dgm:t>
    </dgm:pt>
    <dgm:pt modelId="{B004EA40-81D9-4767-A6D5-7B9AFEFC5626}">
      <dgm:prSet custT="1"/>
      <dgm:spPr/>
      <dgm:t>
        <a:bodyPr/>
        <a:lstStyle/>
        <a:p>
          <a:r>
            <a:rPr lang="en-US" sz="2000" baseline="0" dirty="0" err="1"/>
            <a:t>az</a:t>
          </a:r>
          <a:r>
            <a:rPr lang="en-US" sz="2000" baseline="0" dirty="0"/>
            <a:t> </a:t>
          </a:r>
          <a:r>
            <a:rPr lang="en-US" sz="2000" baseline="0" dirty="0" err="1"/>
            <a:t>sql</a:t>
          </a:r>
          <a:r>
            <a:rPr lang="en-US" sz="2000" baseline="0" dirty="0"/>
            <a:t> </a:t>
          </a:r>
          <a:r>
            <a:rPr lang="en-US" sz="2000" baseline="0" dirty="0" err="1"/>
            <a:t>db</a:t>
          </a:r>
          <a:r>
            <a:rPr lang="en-US" sz="2000" baseline="0" dirty="0"/>
            <a:t> update</a:t>
          </a:r>
          <a:endParaRPr lang="en-US" sz="2000" dirty="0"/>
        </a:p>
      </dgm:t>
    </dgm:pt>
    <dgm:pt modelId="{B20DF906-47EA-4F5E-9820-2EC247386444}" type="parTrans" cxnId="{387B1308-B269-4DC4-B534-40A4DB8BCEFA}">
      <dgm:prSet/>
      <dgm:spPr/>
      <dgm:t>
        <a:bodyPr/>
        <a:lstStyle/>
        <a:p>
          <a:endParaRPr lang="en-US"/>
        </a:p>
      </dgm:t>
    </dgm:pt>
    <dgm:pt modelId="{7BBF65BE-D164-4F4F-B1E9-607E9C646B69}" type="sibTrans" cxnId="{387B1308-B269-4DC4-B534-40A4DB8BCEFA}">
      <dgm:prSet/>
      <dgm:spPr/>
      <dgm:t>
        <a:bodyPr/>
        <a:lstStyle/>
        <a:p>
          <a:endParaRPr lang="en-US"/>
        </a:p>
      </dgm:t>
    </dgm:pt>
    <dgm:pt modelId="{323E7F2C-FA61-4E07-9F8E-F74A58801BC9}">
      <dgm:prSet custT="1"/>
      <dgm:spPr/>
      <dgm:t>
        <a:bodyPr/>
        <a:lstStyle/>
        <a:p>
          <a:r>
            <a:rPr lang="en-US" sz="2400" baseline="0" dirty="0"/>
            <a:t>T-SQL</a:t>
          </a:r>
          <a:endParaRPr lang="en-US" sz="2400" dirty="0"/>
        </a:p>
      </dgm:t>
    </dgm:pt>
    <dgm:pt modelId="{26676EC0-4336-45A5-878F-5BA8E6AF0EAC}" type="parTrans" cxnId="{594820F1-EE3A-40F2-95FE-51491C3A165A}">
      <dgm:prSet/>
      <dgm:spPr/>
      <dgm:t>
        <a:bodyPr/>
        <a:lstStyle/>
        <a:p>
          <a:endParaRPr lang="en-US"/>
        </a:p>
      </dgm:t>
    </dgm:pt>
    <dgm:pt modelId="{7AD0ADAA-EB24-4BEF-8133-30CF82916F31}" type="sibTrans" cxnId="{594820F1-EE3A-40F2-95FE-51491C3A165A}">
      <dgm:prSet/>
      <dgm:spPr/>
      <dgm:t>
        <a:bodyPr/>
        <a:lstStyle/>
        <a:p>
          <a:endParaRPr lang="en-US"/>
        </a:p>
      </dgm:t>
    </dgm:pt>
    <dgm:pt modelId="{491BDCC4-8526-4B2F-80CB-C84D8EBB4C55}">
      <dgm:prSet custT="1"/>
      <dgm:spPr/>
      <dgm:t>
        <a:bodyPr/>
        <a:lstStyle/>
        <a:p>
          <a:r>
            <a:rPr lang="en-US" sz="2000" baseline="0" dirty="0"/>
            <a:t>ALTER DATABASE … MODIFY (EDITION = …)</a:t>
          </a:r>
          <a:endParaRPr lang="en-US" sz="2000" dirty="0"/>
        </a:p>
      </dgm:t>
    </dgm:pt>
    <dgm:pt modelId="{A5EE1DBA-260C-4F3A-AB46-71D487F2A89C}" type="parTrans" cxnId="{2F30E610-D4C9-40C9-9491-86AF5C71E782}">
      <dgm:prSet/>
      <dgm:spPr/>
      <dgm:t>
        <a:bodyPr/>
        <a:lstStyle/>
        <a:p>
          <a:endParaRPr lang="en-US"/>
        </a:p>
      </dgm:t>
    </dgm:pt>
    <dgm:pt modelId="{0CE4D21D-D36D-444A-BB27-EE09AE6313B4}" type="sibTrans" cxnId="{2F30E610-D4C9-40C9-9491-86AF5C71E782}">
      <dgm:prSet/>
      <dgm:spPr/>
      <dgm:t>
        <a:bodyPr/>
        <a:lstStyle/>
        <a:p>
          <a:endParaRPr lang="en-US"/>
        </a:p>
      </dgm:t>
    </dgm:pt>
    <dgm:pt modelId="{6DECA1BD-5C65-480F-9FBE-194722771469}" type="pres">
      <dgm:prSet presAssocID="{66BA8A08-8A95-4770-808C-3A4678B2B7C9}" presName="linear" presStyleCnt="0">
        <dgm:presLayoutVars>
          <dgm:animLvl val="lvl"/>
          <dgm:resizeHandles val="exact"/>
        </dgm:presLayoutVars>
      </dgm:prSet>
      <dgm:spPr/>
    </dgm:pt>
    <dgm:pt modelId="{808A5EAB-3BB0-4A6C-9794-7BD56124DAF8}" type="pres">
      <dgm:prSet presAssocID="{C0EFE3B8-B633-404F-AA0E-1434628AA957}" presName="parentText" presStyleLbl="node1" presStyleIdx="0" presStyleCnt="4">
        <dgm:presLayoutVars>
          <dgm:chMax val="0"/>
          <dgm:bulletEnabled val="1"/>
        </dgm:presLayoutVars>
      </dgm:prSet>
      <dgm:spPr/>
    </dgm:pt>
    <dgm:pt modelId="{3325B63E-757F-46A1-B90D-EB50213FEDF1}" type="pres">
      <dgm:prSet presAssocID="{C0EFE3B8-B633-404F-AA0E-1434628AA957}" presName="childText" presStyleLbl="revTx" presStyleIdx="0" presStyleCnt="4">
        <dgm:presLayoutVars>
          <dgm:bulletEnabled val="1"/>
        </dgm:presLayoutVars>
      </dgm:prSet>
      <dgm:spPr/>
    </dgm:pt>
    <dgm:pt modelId="{934805BF-8023-4612-B5F3-CC19F4A2752C}" type="pres">
      <dgm:prSet presAssocID="{89B18726-44E6-48D3-BFC4-D4F4A6B09AE5}" presName="parentText" presStyleLbl="node1" presStyleIdx="1" presStyleCnt="4">
        <dgm:presLayoutVars>
          <dgm:chMax val="0"/>
          <dgm:bulletEnabled val="1"/>
        </dgm:presLayoutVars>
      </dgm:prSet>
      <dgm:spPr/>
    </dgm:pt>
    <dgm:pt modelId="{3D612DB5-6F16-4F93-AE2E-250304AFBD00}" type="pres">
      <dgm:prSet presAssocID="{89B18726-44E6-48D3-BFC4-D4F4A6B09AE5}" presName="childText" presStyleLbl="revTx" presStyleIdx="1" presStyleCnt="4">
        <dgm:presLayoutVars>
          <dgm:bulletEnabled val="1"/>
        </dgm:presLayoutVars>
      </dgm:prSet>
      <dgm:spPr/>
    </dgm:pt>
    <dgm:pt modelId="{B1C242CC-A693-4C4F-B4D5-DCFD04B25411}" type="pres">
      <dgm:prSet presAssocID="{0A0A7117-436E-4ECF-84FD-42FB7EA50312}" presName="parentText" presStyleLbl="node1" presStyleIdx="2" presStyleCnt="4">
        <dgm:presLayoutVars>
          <dgm:chMax val="0"/>
          <dgm:bulletEnabled val="1"/>
        </dgm:presLayoutVars>
      </dgm:prSet>
      <dgm:spPr/>
    </dgm:pt>
    <dgm:pt modelId="{261C8662-6846-41B8-AED8-16DC4F7656DF}" type="pres">
      <dgm:prSet presAssocID="{0A0A7117-436E-4ECF-84FD-42FB7EA50312}" presName="childText" presStyleLbl="revTx" presStyleIdx="2" presStyleCnt="4">
        <dgm:presLayoutVars>
          <dgm:bulletEnabled val="1"/>
        </dgm:presLayoutVars>
      </dgm:prSet>
      <dgm:spPr/>
    </dgm:pt>
    <dgm:pt modelId="{39774D1A-67C5-490C-96D8-ABCDC9A7C164}" type="pres">
      <dgm:prSet presAssocID="{323E7F2C-FA61-4E07-9F8E-F74A58801BC9}" presName="parentText" presStyleLbl="node1" presStyleIdx="3" presStyleCnt="4">
        <dgm:presLayoutVars>
          <dgm:chMax val="0"/>
          <dgm:bulletEnabled val="1"/>
        </dgm:presLayoutVars>
      </dgm:prSet>
      <dgm:spPr/>
    </dgm:pt>
    <dgm:pt modelId="{206AE505-7652-422D-9A53-65D5EEBFE51D}" type="pres">
      <dgm:prSet presAssocID="{323E7F2C-FA61-4E07-9F8E-F74A58801BC9}" presName="childText" presStyleLbl="revTx" presStyleIdx="3" presStyleCnt="4">
        <dgm:presLayoutVars>
          <dgm:bulletEnabled val="1"/>
        </dgm:presLayoutVars>
      </dgm:prSet>
      <dgm:spPr/>
    </dgm:pt>
  </dgm:ptLst>
  <dgm:cxnLst>
    <dgm:cxn modelId="{7B7E1F01-1EBE-48BE-AF2D-2F7404D1F001}" type="presOf" srcId="{323E7F2C-FA61-4E07-9F8E-F74A58801BC9}" destId="{39774D1A-67C5-490C-96D8-ABCDC9A7C164}" srcOrd="0" destOrd="0" presId="urn:microsoft.com/office/officeart/2005/8/layout/vList2"/>
    <dgm:cxn modelId="{387B1308-B269-4DC4-B534-40A4DB8BCEFA}" srcId="{0A0A7117-436E-4ECF-84FD-42FB7EA50312}" destId="{B004EA40-81D9-4767-A6D5-7B9AFEFC5626}" srcOrd="0" destOrd="0" parTransId="{B20DF906-47EA-4F5E-9820-2EC247386444}" sibTransId="{7BBF65BE-D164-4F4F-B1E9-607E9C646B69}"/>
    <dgm:cxn modelId="{3DE73F0D-9098-45DD-B2C4-A8C8A639F20E}" type="presOf" srcId="{B004EA40-81D9-4767-A6D5-7B9AFEFC5626}" destId="{261C8662-6846-41B8-AED8-16DC4F7656DF}" srcOrd="0" destOrd="0" presId="urn:microsoft.com/office/officeart/2005/8/layout/vList2"/>
    <dgm:cxn modelId="{2F30E610-D4C9-40C9-9491-86AF5C71E782}" srcId="{323E7F2C-FA61-4E07-9F8E-F74A58801BC9}" destId="{491BDCC4-8526-4B2F-80CB-C84D8EBB4C55}" srcOrd="0" destOrd="0" parTransId="{A5EE1DBA-260C-4F3A-AB46-71D487F2A89C}" sibTransId="{0CE4D21D-D36D-444A-BB27-EE09AE6313B4}"/>
    <dgm:cxn modelId="{6DC0A238-CF37-4BE6-85EB-F90D3CFB0F23}" srcId="{66BA8A08-8A95-4770-808C-3A4678B2B7C9}" destId="{0A0A7117-436E-4ECF-84FD-42FB7EA50312}" srcOrd="2" destOrd="0" parTransId="{2699208A-C58A-41E4-8242-5D8597D6BDE6}" sibTransId="{88D2414F-149C-429F-8DC5-8A44D9014D5F}"/>
    <dgm:cxn modelId="{41B54365-06F5-452B-91D4-2706632C5947}" type="presOf" srcId="{7AA261E6-0072-4448-84EA-59236AD8E93A}" destId="{3325B63E-757F-46A1-B90D-EB50213FEDF1}" srcOrd="0" destOrd="0" presId="urn:microsoft.com/office/officeart/2005/8/layout/vList2"/>
    <dgm:cxn modelId="{1187067B-0B6E-430C-A8DF-4AC14DA71800}" srcId="{66BA8A08-8A95-4770-808C-3A4678B2B7C9}" destId="{C0EFE3B8-B633-404F-AA0E-1434628AA957}" srcOrd="0" destOrd="0" parTransId="{5EFF0955-76F5-442F-8703-6199E8FCC48B}" sibTransId="{068B0316-1B9A-49A9-8C53-4B9E6826C9A1}"/>
    <dgm:cxn modelId="{C39C0E7B-73A4-467D-95D1-58752E11F0DD}" type="presOf" srcId="{0A0A7117-436E-4ECF-84FD-42FB7EA50312}" destId="{B1C242CC-A693-4C4F-B4D5-DCFD04B25411}" srcOrd="0" destOrd="0" presId="urn:microsoft.com/office/officeart/2005/8/layout/vList2"/>
    <dgm:cxn modelId="{853ECF84-A056-480D-8D6D-6EA13A31E714}" type="presOf" srcId="{C0EFE3B8-B633-404F-AA0E-1434628AA957}" destId="{808A5EAB-3BB0-4A6C-9794-7BD56124DAF8}" srcOrd="0" destOrd="0" presId="urn:microsoft.com/office/officeart/2005/8/layout/vList2"/>
    <dgm:cxn modelId="{83E131AA-9EAF-4496-B831-AE7492A379DB}" type="presOf" srcId="{5995C2FD-F367-4342-93E4-C38E1A72E8FA}" destId="{3D612DB5-6F16-4F93-AE2E-250304AFBD00}" srcOrd="0" destOrd="0" presId="urn:microsoft.com/office/officeart/2005/8/layout/vList2"/>
    <dgm:cxn modelId="{5FAF41C0-FD70-4244-8C0E-61665174CE1C}" type="presOf" srcId="{491BDCC4-8526-4B2F-80CB-C84D8EBB4C55}" destId="{206AE505-7652-422D-9A53-65D5EEBFE51D}" srcOrd="0" destOrd="0" presId="urn:microsoft.com/office/officeart/2005/8/layout/vList2"/>
    <dgm:cxn modelId="{0320E1C2-1012-4237-A6B4-CFB6C7FA82BC}" srcId="{C0EFE3B8-B633-404F-AA0E-1434628AA957}" destId="{7AA261E6-0072-4448-84EA-59236AD8E93A}" srcOrd="0" destOrd="0" parTransId="{079660E7-870D-4972-9B9A-E1FBC521894C}" sibTransId="{2DCFA3EE-61C9-4FCD-8A19-3380D57B7F86}"/>
    <dgm:cxn modelId="{849A32D5-8710-4961-88C9-1C03F636D5D4}" srcId="{66BA8A08-8A95-4770-808C-3A4678B2B7C9}" destId="{89B18726-44E6-48D3-BFC4-D4F4A6B09AE5}" srcOrd="1" destOrd="0" parTransId="{22654B07-8A16-43DE-9EB5-3E5170A60730}" sibTransId="{912579E7-6050-4FC4-8148-0FC6BEE84012}"/>
    <dgm:cxn modelId="{3258EBD6-9747-4488-96CC-6308C784A7B7}" type="presOf" srcId="{66BA8A08-8A95-4770-808C-3A4678B2B7C9}" destId="{6DECA1BD-5C65-480F-9FBE-194722771469}" srcOrd="0" destOrd="0" presId="urn:microsoft.com/office/officeart/2005/8/layout/vList2"/>
    <dgm:cxn modelId="{0B56C2EF-EC3E-4F83-B815-599F8803D548}" srcId="{89B18726-44E6-48D3-BFC4-D4F4A6B09AE5}" destId="{5995C2FD-F367-4342-93E4-C38E1A72E8FA}" srcOrd="0" destOrd="0" parTransId="{E3635DDD-CEEF-4875-8A4D-F45E1B81D96C}" sibTransId="{B349F384-C6C5-4BC8-A64B-2E1D5B98DE0F}"/>
    <dgm:cxn modelId="{594820F1-EE3A-40F2-95FE-51491C3A165A}" srcId="{66BA8A08-8A95-4770-808C-3A4678B2B7C9}" destId="{323E7F2C-FA61-4E07-9F8E-F74A58801BC9}" srcOrd="3" destOrd="0" parTransId="{26676EC0-4336-45A5-878F-5BA8E6AF0EAC}" sibTransId="{7AD0ADAA-EB24-4BEF-8133-30CF82916F31}"/>
    <dgm:cxn modelId="{9C67DEF8-EF04-4EB5-A68D-3C637E064303}" type="presOf" srcId="{89B18726-44E6-48D3-BFC4-D4F4A6B09AE5}" destId="{934805BF-8023-4612-B5F3-CC19F4A2752C}" srcOrd="0" destOrd="0" presId="urn:microsoft.com/office/officeart/2005/8/layout/vList2"/>
    <dgm:cxn modelId="{0CDE443B-0A57-45CE-9F97-EB7DD76475FD}" type="presParOf" srcId="{6DECA1BD-5C65-480F-9FBE-194722771469}" destId="{808A5EAB-3BB0-4A6C-9794-7BD56124DAF8}" srcOrd="0" destOrd="0" presId="urn:microsoft.com/office/officeart/2005/8/layout/vList2"/>
    <dgm:cxn modelId="{0AA1BA04-9F99-4425-8EEA-D4EA449541EF}" type="presParOf" srcId="{6DECA1BD-5C65-480F-9FBE-194722771469}" destId="{3325B63E-757F-46A1-B90D-EB50213FEDF1}" srcOrd="1" destOrd="0" presId="urn:microsoft.com/office/officeart/2005/8/layout/vList2"/>
    <dgm:cxn modelId="{00FA4FE5-7ED1-4E33-9567-6CBC6D2AB0EB}" type="presParOf" srcId="{6DECA1BD-5C65-480F-9FBE-194722771469}" destId="{934805BF-8023-4612-B5F3-CC19F4A2752C}" srcOrd="2" destOrd="0" presId="urn:microsoft.com/office/officeart/2005/8/layout/vList2"/>
    <dgm:cxn modelId="{36D73799-C9FA-4193-ABA0-720B1546B584}" type="presParOf" srcId="{6DECA1BD-5C65-480F-9FBE-194722771469}" destId="{3D612DB5-6F16-4F93-AE2E-250304AFBD00}" srcOrd="3" destOrd="0" presId="urn:microsoft.com/office/officeart/2005/8/layout/vList2"/>
    <dgm:cxn modelId="{3F9A094E-D036-45B1-88CE-ADA780E365C0}" type="presParOf" srcId="{6DECA1BD-5C65-480F-9FBE-194722771469}" destId="{B1C242CC-A693-4C4F-B4D5-DCFD04B25411}" srcOrd="4" destOrd="0" presId="urn:microsoft.com/office/officeart/2005/8/layout/vList2"/>
    <dgm:cxn modelId="{DD8FEF3C-2E7B-46C2-ADC6-7C13B5498AD4}" type="presParOf" srcId="{6DECA1BD-5C65-480F-9FBE-194722771469}" destId="{261C8662-6846-41B8-AED8-16DC4F7656DF}" srcOrd="5" destOrd="0" presId="urn:microsoft.com/office/officeart/2005/8/layout/vList2"/>
    <dgm:cxn modelId="{41BE60BE-EA19-44EA-8CE7-2881A07DAF86}" type="presParOf" srcId="{6DECA1BD-5C65-480F-9FBE-194722771469}" destId="{39774D1A-67C5-490C-96D8-ABCDC9A7C164}" srcOrd="6" destOrd="0" presId="urn:microsoft.com/office/officeart/2005/8/layout/vList2"/>
    <dgm:cxn modelId="{E8B085C3-2879-4CFA-AA9E-63E806FD834D}" type="presParOf" srcId="{6DECA1BD-5C65-480F-9FBE-194722771469}" destId="{206AE505-7652-422D-9A53-65D5EEBFE51D}" srcOrd="7"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A59D39-7970-4EBC-82BD-0AB3DE7C9CC6}">
      <dsp:nvSpPr>
        <dsp:cNvPr id="0" name=""/>
        <dsp:cNvSpPr/>
      </dsp:nvSpPr>
      <dsp:spPr>
        <a:xfrm>
          <a:off x="390882" y="0"/>
          <a:ext cx="4429997" cy="4819650"/>
        </a:xfrm>
        <a:prstGeom prst="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6D283A7-DE91-4750-B5FE-01DDB9ED0CF8}">
      <dsp:nvSpPr>
        <dsp:cNvPr id="0" name=""/>
        <dsp:cNvSpPr/>
      </dsp:nvSpPr>
      <dsp:spPr>
        <a:xfrm>
          <a:off x="556" y="1445894"/>
          <a:ext cx="1583346" cy="192786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baseline="0"/>
            <a:t>Download the latest version of SSMS.</a:t>
          </a:r>
          <a:endParaRPr lang="en-US" sz="1800" kern="1200"/>
        </a:p>
      </dsp:txBody>
      <dsp:txXfrm>
        <a:off x="77849" y="1523187"/>
        <a:ext cx="1428760" cy="1773274"/>
      </dsp:txXfrm>
    </dsp:sp>
    <dsp:sp modelId="{155CF17E-9E37-44D4-BD70-0FAC26B50974}">
      <dsp:nvSpPr>
        <dsp:cNvPr id="0" name=""/>
        <dsp:cNvSpPr/>
      </dsp:nvSpPr>
      <dsp:spPr>
        <a:xfrm>
          <a:off x="1814207" y="1445894"/>
          <a:ext cx="1583346" cy="1927860"/>
        </a:xfrm>
        <a:prstGeom prst="roundRect">
          <a:avLst/>
        </a:prstGeom>
        <a:solidFill>
          <a:schemeClr val="accent2">
            <a:hueOff val="-6031536"/>
            <a:satOff val="27236"/>
            <a:lumOff val="852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baseline="0"/>
            <a:t>Get the fully qualified domain name of your Azure SQL Server.</a:t>
          </a:r>
          <a:endParaRPr lang="en-US" sz="1800" kern="1200"/>
        </a:p>
      </dsp:txBody>
      <dsp:txXfrm>
        <a:off x="1891500" y="1523187"/>
        <a:ext cx="1428760" cy="1773274"/>
      </dsp:txXfrm>
    </dsp:sp>
    <dsp:sp modelId="{43DBA389-024D-4A46-9A8D-E9E249AD8375}">
      <dsp:nvSpPr>
        <dsp:cNvPr id="0" name=""/>
        <dsp:cNvSpPr/>
      </dsp:nvSpPr>
      <dsp:spPr>
        <a:xfrm>
          <a:off x="3627859" y="1445894"/>
          <a:ext cx="1583346" cy="1927860"/>
        </a:xfrm>
        <a:prstGeom prst="roundRect">
          <a:avLst/>
        </a:prstGeom>
        <a:solidFill>
          <a:schemeClr val="accent2">
            <a:hueOff val="-12063073"/>
            <a:satOff val="54471"/>
            <a:lumOff val="1705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baseline="0"/>
            <a:t>Connect to your SQL Database.</a:t>
          </a:r>
          <a:endParaRPr lang="en-US" sz="1800" kern="1200"/>
        </a:p>
      </dsp:txBody>
      <dsp:txXfrm>
        <a:off x="3705152" y="1523187"/>
        <a:ext cx="1428760" cy="1773274"/>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7E732F-5250-4F77-9F9E-52C7AF8DA41A}">
      <dsp:nvSpPr>
        <dsp:cNvPr id="0" name=""/>
        <dsp:cNvSpPr/>
      </dsp:nvSpPr>
      <dsp:spPr>
        <a:xfrm>
          <a:off x="0" y="21573"/>
          <a:ext cx="3840162" cy="61776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PowerShell</a:t>
          </a:r>
          <a:endParaRPr lang="en-US" sz="2400" kern="1200" dirty="0"/>
        </a:p>
      </dsp:txBody>
      <dsp:txXfrm>
        <a:off x="30157" y="51730"/>
        <a:ext cx="3779848" cy="557446"/>
      </dsp:txXfrm>
    </dsp:sp>
    <dsp:sp modelId="{AD3AAEE1-F11D-4FC3-A023-5CD825FC9A2A}">
      <dsp:nvSpPr>
        <dsp:cNvPr id="0" name=""/>
        <dsp:cNvSpPr/>
      </dsp:nvSpPr>
      <dsp:spPr>
        <a:xfrm>
          <a:off x="0" y="639333"/>
          <a:ext cx="3840162" cy="5464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5"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dirty="0"/>
            <a:t>Set-</a:t>
          </a:r>
          <a:r>
            <a:rPr lang="en-US" sz="2000" kern="1200" baseline="0" dirty="0" err="1"/>
            <a:t>AzSqlDatabase</a:t>
          </a:r>
          <a:endParaRPr lang="en-US" sz="2000" kern="1200" dirty="0"/>
        </a:p>
      </dsp:txBody>
      <dsp:txXfrm>
        <a:off x="0" y="639333"/>
        <a:ext cx="3840162" cy="546480"/>
      </dsp:txXfrm>
    </dsp:sp>
    <dsp:sp modelId="{70038914-B453-4137-B7E2-7854FF2D6714}">
      <dsp:nvSpPr>
        <dsp:cNvPr id="0" name=""/>
        <dsp:cNvSpPr/>
      </dsp:nvSpPr>
      <dsp:spPr>
        <a:xfrm>
          <a:off x="0" y="1185813"/>
          <a:ext cx="3840162" cy="61776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REST</a:t>
          </a:r>
          <a:endParaRPr lang="en-US" sz="2400" kern="1200" dirty="0"/>
        </a:p>
      </dsp:txBody>
      <dsp:txXfrm>
        <a:off x="30157" y="1215970"/>
        <a:ext cx="3779848" cy="557446"/>
      </dsp:txXfrm>
    </dsp:sp>
    <dsp:sp modelId="{1D561426-F22C-48A6-B5B5-D2C77F8B723B}">
      <dsp:nvSpPr>
        <dsp:cNvPr id="0" name=""/>
        <dsp:cNvSpPr/>
      </dsp:nvSpPr>
      <dsp:spPr>
        <a:xfrm>
          <a:off x="0" y="1803573"/>
          <a:ext cx="3840162" cy="5464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5"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dirty="0"/>
            <a:t>Update database</a:t>
          </a:r>
          <a:endParaRPr lang="en-US" sz="2000" kern="1200" dirty="0"/>
        </a:p>
      </dsp:txBody>
      <dsp:txXfrm>
        <a:off x="0" y="1803573"/>
        <a:ext cx="3840162" cy="546480"/>
      </dsp:txXfrm>
    </dsp:sp>
    <dsp:sp modelId="{82CCE49A-F2DD-4FA3-971B-B0FD27D9E3E1}">
      <dsp:nvSpPr>
        <dsp:cNvPr id="0" name=""/>
        <dsp:cNvSpPr/>
      </dsp:nvSpPr>
      <dsp:spPr>
        <a:xfrm>
          <a:off x="0" y="2350053"/>
          <a:ext cx="3840162" cy="61776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Azure CLI</a:t>
          </a:r>
          <a:endParaRPr lang="en-US" sz="2400" kern="1200" dirty="0"/>
        </a:p>
      </dsp:txBody>
      <dsp:txXfrm>
        <a:off x="30157" y="2380210"/>
        <a:ext cx="3779848" cy="557446"/>
      </dsp:txXfrm>
    </dsp:sp>
    <dsp:sp modelId="{A47D2939-EEC7-4CA7-BA4B-0D9B10A8E8A4}">
      <dsp:nvSpPr>
        <dsp:cNvPr id="0" name=""/>
        <dsp:cNvSpPr/>
      </dsp:nvSpPr>
      <dsp:spPr>
        <a:xfrm>
          <a:off x="0" y="2967813"/>
          <a:ext cx="3840162" cy="5464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5"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dirty="0" err="1"/>
            <a:t>az</a:t>
          </a:r>
          <a:r>
            <a:rPr lang="en-US" sz="2000" kern="1200" baseline="0" dirty="0"/>
            <a:t> </a:t>
          </a:r>
          <a:r>
            <a:rPr lang="en-US" sz="2000" kern="1200" baseline="0" dirty="0" err="1"/>
            <a:t>sql</a:t>
          </a:r>
          <a:r>
            <a:rPr lang="en-US" sz="2000" kern="1200" baseline="0" dirty="0"/>
            <a:t> </a:t>
          </a:r>
          <a:r>
            <a:rPr lang="en-US" sz="2000" kern="1200" baseline="0" dirty="0" err="1"/>
            <a:t>db</a:t>
          </a:r>
          <a:r>
            <a:rPr lang="en-US" sz="2000" kern="1200" baseline="0" dirty="0"/>
            <a:t> update</a:t>
          </a:r>
          <a:endParaRPr lang="en-US" sz="2000" kern="1200" dirty="0"/>
        </a:p>
      </dsp:txBody>
      <dsp:txXfrm>
        <a:off x="0" y="2967813"/>
        <a:ext cx="3840162" cy="546480"/>
      </dsp:txXfrm>
    </dsp:sp>
    <dsp:sp modelId="{5830A749-91C2-42BE-9395-2A36640B2376}">
      <dsp:nvSpPr>
        <dsp:cNvPr id="0" name=""/>
        <dsp:cNvSpPr/>
      </dsp:nvSpPr>
      <dsp:spPr>
        <a:xfrm>
          <a:off x="0" y="3514293"/>
          <a:ext cx="3840162" cy="61776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T-SQL</a:t>
          </a:r>
          <a:endParaRPr lang="en-US" sz="2400" kern="1200" dirty="0"/>
        </a:p>
      </dsp:txBody>
      <dsp:txXfrm>
        <a:off x="30157" y="3544450"/>
        <a:ext cx="3779848" cy="557446"/>
      </dsp:txXfrm>
    </dsp:sp>
    <dsp:sp modelId="{522526A7-C40C-4911-A903-B874C5A4EF78}">
      <dsp:nvSpPr>
        <dsp:cNvPr id="0" name=""/>
        <dsp:cNvSpPr/>
      </dsp:nvSpPr>
      <dsp:spPr>
        <a:xfrm>
          <a:off x="0" y="4132053"/>
          <a:ext cx="3840162" cy="6660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5"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dirty="0"/>
            <a:t>ALTER DATABASE … MODIFY (EDITION = …)</a:t>
          </a:r>
          <a:endParaRPr lang="en-US" sz="2000" kern="1200" dirty="0"/>
        </a:p>
      </dsp:txBody>
      <dsp:txXfrm>
        <a:off x="0" y="4132053"/>
        <a:ext cx="3840162" cy="666022"/>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BE7DBB-32F0-40DF-8822-6095551EC7C9}">
      <dsp:nvSpPr>
        <dsp:cNvPr id="0" name=""/>
        <dsp:cNvSpPr/>
      </dsp:nvSpPr>
      <dsp:spPr>
        <a:xfrm>
          <a:off x="7121882" y="1925918"/>
          <a:ext cx="1859658" cy="596399"/>
        </a:xfrm>
        <a:custGeom>
          <a:avLst/>
          <a:gdLst/>
          <a:ahLst/>
          <a:cxnLst/>
          <a:rect l="0" t="0" r="0" b="0"/>
          <a:pathLst>
            <a:path>
              <a:moveTo>
                <a:pt x="0" y="0"/>
              </a:moveTo>
              <a:lnTo>
                <a:pt x="0" y="600163"/>
              </a:lnTo>
              <a:lnTo>
                <a:pt x="1850540" y="600163"/>
              </a:lnTo>
              <a:lnTo>
                <a:pt x="1850540" y="880689"/>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C0A8D6C-BF2D-4F79-8FBC-6F31BD1EA31A}">
      <dsp:nvSpPr>
        <dsp:cNvPr id="0" name=""/>
        <dsp:cNvSpPr/>
      </dsp:nvSpPr>
      <dsp:spPr>
        <a:xfrm>
          <a:off x="5279687" y="1925918"/>
          <a:ext cx="1842194" cy="596399"/>
        </a:xfrm>
        <a:custGeom>
          <a:avLst/>
          <a:gdLst/>
          <a:ahLst/>
          <a:cxnLst/>
          <a:rect l="0" t="0" r="0" b="0"/>
          <a:pathLst>
            <a:path>
              <a:moveTo>
                <a:pt x="1850540" y="0"/>
              </a:moveTo>
              <a:lnTo>
                <a:pt x="1850540" y="600163"/>
              </a:lnTo>
              <a:lnTo>
                <a:pt x="0" y="600163"/>
              </a:lnTo>
              <a:lnTo>
                <a:pt x="0" y="880689"/>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C6F2923-C370-4403-A1DA-DF7AFC45A501}">
      <dsp:nvSpPr>
        <dsp:cNvPr id="0" name=""/>
        <dsp:cNvSpPr/>
      </dsp:nvSpPr>
      <dsp:spPr>
        <a:xfrm>
          <a:off x="1501907" y="1925918"/>
          <a:ext cx="91440" cy="628457"/>
        </a:xfrm>
        <a:custGeom>
          <a:avLst/>
          <a:gdLst/>
          <a:ahLst/>
          <a:cxnLst/>
          <a:rect l="0" t="0" r="0" b="0"/>
          <a:pathLst>
            <a:path>
              <a:moveTo>
                <a:pt x="45720" y="0"/>
              </a:moveTo>
              <a:lnTo>
                <a:pt x="45720" y="880689"/>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CFB21A6-47BD-40EC-8F74-EFFA459413E7}">
      <dsp:nvSpPr>
        <dsp:cNvPr id="0" name=""/>
        <dsp:cNvSpPr/>
      </dsp:nvSpPr>
      <dsp:spPr>
        <a:xfrm>
          <a:off x="59503" y="3942"/>
          <a:ext cx="3026733" cy="1921975"/>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26FB68E-882E-429E-BEB5-2B2BDCB727F4}">
      <dsp:nvSpPr>
        <dsp:cNvPr id="0" name=""/>
        <dsp:cNvSpPr/>
      </dsp:nvSpPr>
      <dsp:spPr>
        <a:xfrm>
          <a:off x="395807" y="323431"/>
          <a:ext cx="3026733" cy="1921975"/>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latin typeface="Segoe UI Light" panose="020B0502040204020203" pitchFamily="34" charset="0"/>
              <a:ea typeface="+mn-ea"/>
              <a:cs typeface="Segoe UI Light" panose="020B0502040204020203" pitchFamily="34" charset="0"/>
            </a:rPr>
            <a:t>Connections to the database may be temporarily dropped</a:t>
          </a:r>
        </a:p>
      </dsp:txBody>
      <dsp:txXfrm>
        <a:off x="452100" y="379724"/>
        <a:ext cx="2914147" cy="1809389"/>
      </dsp:txXfrm>
    </dsp:sp>
    <dsp:sp modelId="{F6BFB906-9225-4F02-A8B1-4E2B3E4B8A4B}">
      <dsp:nvSpPr>
        <dsp:cNvPr id="0" name=""/>
        <dsp:cNvSpPr/>
      </dsp:nvSpPr>
      <dsp:spPr>
        <a:xfrm>
          <a:off x="34261" y="2554376"/>
          <a:ext cx="3026733" cy="1921975"/>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6FFB695-12F6-4B49-954F-2A953247FC76}">
      <dsp:nvSpPr>
        <dsp:cNvPr id="0" name=""/>
        <dsp:cNvSpPr/>
      </dsp:nvSpPr>
      <dsp:spPr>
        <a:xfrm>
          <a:off x="370564" y="2873864"/>
          <a:ext cx="3026733" cy="1921975"/>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latin typeface="Segoe UI Light" panose="020B0502040204020203" pitchFamily="34" charset="0"/>
              <a:ea typeface="+mn-ea"/>
              <a:cs typeface="Segoe UI Light" panose="020B0502040204020203" pitchFamily="34" charset="0"/>
            </a:rPr>
            <a:t>No data is lost during this process </a:t>
          </a:r>
        </a:p>
      </dsp:txBody>
      <dsp:txXfrm>
        <a:off x="426857" y="2930157"/>
        <a:ext cx="2914147" cy="1809389"/>
      </dsp:txXfrm>
    </dsp:sp>
    <dsp:sp modelId="{8F2EA5A1-C764-42E7-A02D-B972F6F17D2B}">
      <dsp:nvSpPr>
        <dsp:cNvPr id="0" name=""/>
        <dsp:cNvSpPr/>
      </dsp:nvSpPr>
      <dsp:spPr>
        <a:xfrm>
          <a:off x="5608515" y="3942"/>
          <a:ext cx="3026733" cy="1921975"/>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53CEE82-08A8-4DF0-A527-91296AB16263}">
      <dsp:nvSpPr>
        <dsp:cNvPr id="0" name=""/>
        <dsp:cNvSpPr/>
      </dsp:nvSpPr>
      <dsp:spPr>
        <a:xfrm>
          <a:off x="5944819" y="323431"/>
          <a:ext cx="3026733" cy="1921975"/>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latin typeface="Segoe UI Light" panose="020B0502040204020203" pitchFamily="34" charset="0"/>
              <a:ea typeface="+mn-ea"/>
              <a:cs typeface="Segoe UI Light" panose="020B0502040204020203" pitchFamily="34" charset="0"/>
            </a:rPr>
            <a:t>The duration depends on both size and service tier</a:t>
          </a:r>
        </a:p>
      </dsp:txBody>
      <dsp:txXfrm>
        <a:off x="6001112" y="379724"/>
        <a:ext cx="2914147" cy="1809389"/>
      </dsp:txXfrm>
    </dsp:sp>
    <dsp:sp modelId="{8CF29249-357E-43B3-AC83-F7C653049AC5}">
      <dsp:nvSpPr>
        <dsp:cNvPr id="0" name=""/>
        <dsp:cNvSpPr/>
      </dsp:nvSpPr>
      <dsp:spPr>
        <a:xfrm>
          <a:off x="3766320" y="2522317"/>
          <a:ext cx="3026733" cy="1921975"/>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E059BC6-2A05-416D-885A-A8DDA7CD5318}">
      <dsp:nvSpPr>
        <dsp:cNvPr id="0" name=""/>
        <dsp:cNvSpPr/>
      </dsp:nvSpPr>
      <dsp:spPr>
        <a:xfrm>
          <a:off x="4102624" y="2841806"/>
          <a:ext cx="3026733" cy="1921975"/>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nl-BE" sz="2600" kern="1200">
              <a:latin typeface="Segoe UI Light" panose="020B0502040204020203" pitchFamily="34" charset="0"/>
              <a:ea typeface="+mn-ea"/>
              <a:cs typeface="Segoe UI Light" panose="020B0502040204020203" pitchFamily="34" charset="0"/>
            </a:rPr>
            <a:t>Changing to, from, within Standard Tier of 250 GB database &lt; 6 hours</a:t>
          </a:r>
          <a:endParaRPr lang="en-US" sz="2600" kern="1200" dirty="0">
            <a:latin typeface="Segoe UI Light" panose="020B0502040204020203" pitchFamily="34" charset="0"/>
            <a:ea typeface="+mn-ea"/>
            <a:cs typeface="Segoe UI Light" panose="020B0502040204020203" pitchFamily="34" charset="0"/>
          </a:endParaRPr>
        </a:p>
      </dsp:txBody>
      <dsp:txXfrm>
        <a:off x="4158917" y="2898099"/>
        <a:ext cx="2914147" cy="1809389"/>
      </dsp:txXfrm>
    </dsp:sp>
    <dsp:sp modelId="{B4A8C4BD-2535-436E-9882-E51AD093563B}">
      <dsp:nvSpPr>
        <dsp:cNvPr id="0" name=""/>
        <dsp:cNvSpPr/>
      </dsp:nvSpPr>
      <dsp:spPr>
        <a:xfrm>
          <a:off x="7468174" y="2522317"/>
          <a:ext cx="3026733" cy="1921975"/>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7F49690-8A88-48E8-A756-88E402C74DEC}">
      <dsp:nvSpPr>
        <dsp:cNvPr id="0" name=""/>
        <dsp:cNvSpPr/>
      </dsp:nvSpPr>
      <dsp:spPr>
        <a:xfrm>
          <a:off x="7804477" y="2841806"/>
          <a:ext cx="3026733" cy="1921975"/>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a:latin typeface="Segoe UI Light" panose="020B0502040204020203" pitchFamily="34" charset="0"/>
              <a:ea typeface="+mn-ea"/>
              <a:cs typeface="Segoe UI Light" panose="020B0502040204020203" pitchFamily="34" charset="0"/>
            </a:rPr>
            <a:t>Changing within Premium Tier of 250 GB database &lt; 3 hours</a:t>
          </a:r>
        </a:p>
      </dsp:txBody>
      <dsp:txXfrm>
        <a:off x="7860770" y="2898099"/>
        <a:ext cx="2914147" cy="1809389"/>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D3D634-1005-4123-81DA-D24DD99A8260}">
      <dsp:nvSpPr>
        <dsp:cNvPr id="0" name=""/>
        <dsp:cNvSpPr/>
      </dsp:nvSpPr>
      <dsp:spPr>
        <a:xfrm>
          <a:off x="2334" y="674685"/>
          <a:ext cx="4287264" cy="2722412"/>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EE64E4A-3D71-48A3-A9A5-7E1E9F678A28}">
      <dsp:nvSpPr>
        <dsp:cNvPr id="0" name=""/>
        <dsp:cNvSpPr/>
      </dsp:nvSpPr>
      <dsp:spPr>
        <a:xfrm>
          <a:off x="769510" y="1403502"/>
          <a:ext cx="4287264" cy="2722412"/>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Segoe UI Light" panose="020B0502040204020203" pitchFamily="34" charset="0"/>
              <a:ea typeface="+mn-ea"/>
              <a:cs typeface="Segoe UI Light" panose="020B0502040204020203" pitchFamily="34" charset="0"/>
            </a:rPr>
            <a:t>Downgrading the service tier can cause a change in the backup retention periods.</a:t>
          </a:r>
          <a:endParaRPr lang="en-US" sz="2400" kern="1200" dirty="0">
            <a:latin typeface="Consolas" panose="020B0609020204030204" pitchFamily="49" charset="0"/>
            <a:ea typeface="+mn-ea"/>
            <a:cs typeface="+mn-cs"/>
          </a:endParaRPr>
        </a:p>
      </dsp:txBody>
      <dsp:txXfrm>
        <a:off x="849247" y="1483239"/>
        <a:ext cx="4127790" cy="2562938"/>
      </dsp:txXfrm>
    </dsp:sp>
    <dsp:sp modelId="{21CCEC3D-354E-459A-AC66-B20B2646CBB0}">
      <dsp:nvSpPr>
        <dsp:cNvPr id="0" name=""/>
        <dsp:cNvSpPr/>
      </dsp:nvSpPr>
      <dsp:spPr>
        <a:xfrm>
          <a:off x="5584844" y="730498"/>
          <a:ext cx="4287264" cy="2722412"/>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DC07CFC-D85C-4303-BEB9-9141D4CA4F29}">
      <dsp:nvSpPr>
        <dsp:cNvPr id="0" name=""/>
        <dsp:cNvSpPr/>
      </dsp:nvSpPr>
      <dsp:spPr>
        <a:xfrm>
          <a:off x="6352020" y="1459315"/>
          <a:ext cx="4287264" cy="2722412"/>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Segoe UI Light" panose="020B0502040204020203" pitchFamily="34" charset="0"/>
              <a:ea typeface="+mn-ea"/>
              <a:cs typeface="Segoe UI Light" panose="020B0502040204020203" pitchFamily="34" charset="0"/>
            </a:rPr>
            <a:t>Changing your database pricing tier does not automatically change the max database size. </a:t>
          </a:r>
          <a:endParaRPr lang="en-US" sz="2400" kern="1200" dirty="0">
            <a:latin typeface="Consolas" panose="020B0609020204030204" pitchFamily="49" charset="0"/>
            <a:ea typeface="+mn-ea"/>
            <a:cs typeface="+mn-cs"/>
          </a:endParaRPr>
        </a:p>
      </dsp:txBody>
      <dsp:txXfrm>
        <a:off x="6431757" y="1539052"/>
        <a:ext cx="4127790" cy="2562938"/>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13123"/>
          <a:ext cx="10880725" cy="1038959"/>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solidFill>
                <a:srgbClr val="FFFFFF"/>
              </a:solidFill>
            </a:rPr>
            <a:t>True or false: Database will remain offline and unavailable during the scale up\down operation.</a:t>
          </a:r>
          <a:endParaRPr lang="en-US" sz="2400" kern="1200" dirty="0"/>
        </a:p>
      </dsp:txBody>
      <dsp:txXfrm>
        <a:off x="50718" y="63841"/>
        <a:ext cx="10779289" cy="937523"/>
      </dsp:txXfrm>
    </dsp:sp>
    <dsp:sp modelId="{7D7555A6-3753-4123-84E9-A9658316A38A}">
      <dsp:nvSpPr>
        <dsp:cNvPr id="0" name=""/>
        <dsp:cNvSpPr/>
      </dsp:nvSpPr>
      <dsp:spPr>
        <a:xfrm>
          <a:off x="0" y="1121203"/>
          <a:ext cx="10880725" cy="1038959"/>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solidFill>
                <a:srgbClr val="FFFFFF"/>
              </a:solidFill>
            </a:rPr>
            <a:t>What are the various methods to change the performance levels and </a:t>
          </a:r>
          <a:r>
            <a:rPr lang="en-US" sz="2400" kern="1200">
              <a:solidFill>
                <a:srgbClr val="FFFFFF"/>
              </a:solidFill>
            </a:rPr>
            <a:t>edit?</a:t>
          </a:r>
          <a:endParaRPr lang="en-US" sz="2400" kern="1200" dirty="0"/>
        </a:p>
      </dsp:txBody>
      <dsp:txXfrm>
        <a:off x="50718" y="1171921"/>
        <a:ext cx="10779289" cy="937523"/>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3DFFFE-55BD-46AE-A438-0A68DA92D27B}">
      <dsp:nvSpPr>
        <dsp:cNvPr id="0" name=""/>
        <dsp:cNvSpPr/>
      </dsp:nvSpPr>
      <dsp:spPr>
        <a:xfrm>
          <a:off x="0" y="106361"/>
          <a:ext cx="4297365" cy="403065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0" i="0" kern="1200" baseline="0" dirty="0"/>
            <a:t>Elastic Database Jobs provide the ability to run one or more T-SQL scripts in parallel, across a large number of databases, on a schedule or on-demand.</a:t>
          </a:r>
          <a:endParaRPr lang="en-US" sz="2800" kern="1200" dirty="0"/>
        </a:p>
      </dsp:txBody>
      <dsp:txXfrm>
        <a:off x="196760" y="303121"/>
        <a:ext cx="3903845" cy="3637130"/>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801C6B7-1775-4230-BF90-75ECF8B2D6B2}">
      <dsp:nvSpPr>
        <dsp:cNvPr id="0" name=""/>
        <dsp:cNvSpPr/>
      </dsp:nvSpPr>
      <dsp:spPr>
        <a:xfrm>
          <a:off x="0" y="277449"/>
          <a:ext cx="10880726" cy="1311975"/>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354076" rIns="844465"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baseline="0"/>
            <a:t>Easily do schema changes, credentials management, reference data updates, performance data collection or tenant (customer) telemetry collection.</a:t>
          </a:r>
          <a:endParaRPr lang="en-US" sz="1700" kern="1200"/>
        </a:p>
        <a:p>
          <a:pPr marL="171450" lvl="1" indent="-171450" algn="l" defTabSz="755650">
            <a:lnSpc>
              <a:spcPct val="90000"/>
            </a:lnSpc>
            <a:spcBef>
              <a:spcPct val="0"/>
            </a:spcBef>
            <a:spcAft>
              <a:spcPct val="15000"/>
            </a:spcAft>
            <a:buChar char="•"/>
          </a:pPr>
          <a:r>
            <a:rPr lang="en-US" sz="1700" kern="1200" baseline="0"/>
            <a:t>Schedule administrative tasks for example: Index Maintenance.</a:t>
          </a:r>
          <a:endParaRPr lang="en-US" sz="1700" kern="1200"/>
        </a:p>
      </dsp:txBody>
      <dsp:txXfrm>
        <a:off x="0" y="277449"/>
        <a:ext cx="10880726" cy="1311975"/>
      </dsp:txXfrm>
    </dsp:sp>
    <dsp:sp modelId="{FD0711BE-7458-4871-90CA-4CA72D6C4156}">
      <dsp:nvSpPr>
        <dsp:cNvPr id="0" name=""/>
        <dsp:cNvSpPr/>
      </dsp:nvSpPr>
      <dsp:spPr>
        <a:xfrm>
          <a:off x="544036" y="26529"/>
          <a:ext cx="7616508" cy="5018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755650">
            <a:lnSpc>
              <a:spcPct val="90000"/>
            </a:lnSpc>
            <a:spcBef>
              <a:spcPct val="0"/>
            </a:spcBef>
            <a:spcAft>
              <a:spcPct val="35000"/>
            </a:spcAft>
            <a:buNone/>
          </a:pPr>
          <a:r>
            <a:rPr lang="en-US" sz="1700" kern="1200" baseline="0"/>
            <a:t>Manage many databases</a:t>
          </a:r>
          <a:endParaRPr lang="en-US" sz="1700" kern="1200"/>
        </a:p>
      </dsp:txBody>
      <dsp:txXfrm>
        <a:off x="568534" y="51027"/>
        <a:ext cx="7567512" cy="452844"/>
      </dsp:txXfrm>
    </dsp:sp>
    <dsp:sp modelId="{679C91E1-1291-4EA7-BACE-38CAB1F28488}">
      <dsp:nvSpPr>
        <dsp:cNvPr id="0" name=""/>
        <dsp:cNvSpPr/>
      </dsp:nvSpPr>
      <dsp:spPr>
        <a:xfrm>
          <a:off x="0" y="1932144"/>
          <a:ext cx="10880726" cy="736312"/>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354076" rIns="844465"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baseline="0" dirty="0"/>
            <a:t>Aggregate data from a collection of Azure SQL Databases into a single destination table.</a:t>
          </a:r>
          <a:endParaRPr lang="en-US" sz="1700" kern="1200" dirty="0"/>
        </a:p>
      </dsp:txBody>
      <dsp:txXfrm>
        <a:off x="0" y="1932144"/>
        <a:ext cx="10880726" cy="736312"/>
      </dsp:txXfrm>
    </dsp:sp>
    <dsp:sp modelId="{1356BA5C-F987-4F9C-B2CE-272FCA4BCED9}">
      <dsp:nvSpPr>
        <dsp:cNvPr id="0" name=""/>
        <dsp:cNvSpPr/>
      </dsp:nvSpPr>
      <dsp:spPr>
        <a:xfrm>
          <a:off x="544036" y="1681224"/>
          <a:ext cx="7616508" cy="5018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755650">
            <a:lnSpc>
              <a:spcPct val="90000"/>
            </a:lnSpc>
            <a:spcBef>
              <a:spcPct val="0"/>
            </a:spcBef>
            <a:spcAft>
              <a:spcPct val="35000"/>
            </a:spcAft>
            <a:buNone/>
          </a:pPr>
          <a:r>
            <a:rPr lang="en-US" sz="1700" kern="1200" baseline="0"/>
            <a:t>Collect data for reporting</a:t>
          </a:r>
          <a:endParaRPr lang="en-US" sz="1700" kern="1200"/>
        </a:p>
      </dsp:txBody>
      <dsp:txXfrm>
        <a:off x="568534" y="1705722"/>
        <a:ext cx="7567512" cy="452844"/>
      </dsp:txXfrm>
    </dsp:sp>
    <dsp:sp modelId="{22604C87-B59D-4228-B3F6-B1B02299CCFC}">
      <dsp:nvSpPr>
        <dsp:cNvPr id="0" name=""/>
        <dsp:cNvSpPr/>
      </dsp:nvSpPr>
      <dsp:spPr>
        <a:xfrm>
          <a:off x="0" y="3011176"/>
          <a:ext cx="10880726" cy="1044225"/>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354076" rIns="844465"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baseline="0"/>
            <a:t>No need to connect to each DB separately.</a:t>
          </a:r>
          <a:endParaRPr lang="en-US" sz="1700" kern="1200"/>
        </a:p>
        <a:p>
          <a:pPr marL="171450" lvl="1" indent="-171450" algn="l" defTabSz="755650">
            <a:lnSpc>
              <a:spcPct val="90000"/>
            </a:lnSpc>
            <a:spcBef>
              <a:spcPct val="0"/>
            </a:spcBef>
            <a:spcAft>
              <a:spcPct val="15000"/>
            </a:spcAft>
            <a:buChar char="•"/>
          </a:pPr>
          <a:r>
            <a:rPr lang="en-US" sz="1700" kern="1200" baseline="0"/>
            <a:t>Scripts are executed against a group of databases.</a:t>
          </a:r>
          <a:endParaRPr lang="en-US" sz="1700" kern="1200"/>
        </a:p>
      </dsp:txBody>
      <dsp:txXfrm>
        <a:off x="0" y="3011176"/>
        <a:ext cx="10880726" cy="1044225"/>
      </dsp:txXfrm>
    </dsp:sp>
    <dsp:sp modelId="{B066B733-64A8-4999-B959-216A50F854B4}">
      <dsp:nvSpPr>
        <dsp:cNvPr id="0" name=""/>
        <dsp:cNvSpPr/>
      </dsp:nvSpPr>
      <dsp:spPr>
        <a:xfrm>
          <a:off x="544036" y="2760256"/>
          <a:ext cx="7616508" cy="5018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755650">
            <a:lnSpc>
              <a:spcPct val="90000"/>
            </a:lnSpc>
            <a:spcBef>
              <a:spcPct val="0"/>
            </a:spcBef>
            <a:spcAft>
              <a:spcPct val="35000"/>
            </a:spcAft>
            <a:buNone/>
          </a:pPr>
          <a:r>
            <a:rPr lang="en-US" sz="1700" kern="1200" baseline="0" dirty="0"/>
            <a:t>Reduce Overhead</a:t>
          </a:r>
          <a:endParaRPr lang="en-US" sz="1700" kern="1200" dirty="0"/>
        </a:p>
      </dsp:txBody>
      <dsp:txXfrm>
        <a:off x="568534" y="2784754"/>
        <a:ext cx="7567512" cy="452844"/>
      </dsp:txXfrm>
    </dsp:sp>
    <dsp:sp modelId="{4CA03281-9939-45B1-B92D-A4A5062007F1}">
      <dsp:nvSpPr>
        <dsp:cNvPr id="0" name=""/>
        <dsp:cNvSpPr/>
      </dsp:nvSpPr>
      <dsp:spPr>
        <a:xfrm>
          <a:off x="0" y="4398122"/>
          <a:ext cx="10880726" cy="736312"/>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354076" rIns="844465"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baseline="0"/>
            <a:t>Define custom groups of Azure SQL Databases, and define schedules for running a job.</a:t>
          </a:r>
          <a:endParaRPr lang="en-US" sz="1700" kern="1200"/>
        </a:p>
      </dsp:txBody>
      <dsp:txXfrm>
        <a:off x="0" y="4398122"/>
        <a:ext cx="10880726" cy="736312"/>
      </dsp:txXfrm>
    </dsp:sp>
    <dsp:sp modelId="{D441D088-00B6-4C6F-BEDD-F1BA3F9BD363}">
      <dsp:nvSpPr>
        <dsp:cNvPr id="0" name=""/>
        <dsp:cNvSpPr/>
      </dsp:nvSpPr>
      <dsp:spPr>
        <a:xfrm>
          <a:off x="544036" y="4147202"/>
          <a:ext cx="7616508" cy="5018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755650">
            <a:lnSpc>
              <a:spcPct val="90000"/>
            </a:lnSpc>
            <a:spcBef>
              <a:spcPct val="0"/>
            </a:spcBef>
            <a:spcAft>
              <a:spcPct val="35000"/>
            </a:spcAft>
            <a:buNone/>
          </a:pPr>
          <a:r>
            <a:rPr lang="en-US" sz="1700" kern="1200" baseline="0"/>
            <a:t>Flexibility</a:t>
          </a:r>
          <a:endParaRPr lang="en-US" sz="1700" kern="1200"/>
        </a:p>
      </dsp:txBody>
      <dsp:txXfrm>
        <a:off x="568534" y="4171700"/>
        <a:ext cx="7567512" cy="452844"/>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C7841E6-54F9-404C-B9DB-D073C8001858}">
      <dsp:nvSpPr>
        <dsp:cNvPr id="0" name=""/>
        <dsp:cNvSpPr/>
      </dsp:nvSpPr>
      <dsp:spPr>
        <a:xfrm>
          <a:off x="1015274" y="1471"/>
          <a:ext cx="3565389" cy="1575916"/>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Database Scoped Credentials</a:t>
          </a:r>
          <a:endParaRPr lang="en-US" sz="2400" kern="1200" dirty="0"/>
        </a:p>
      </dsp:txBody>
      <dsp:txXfrm>
        <a:off x="1092204" y="78401"/>
        <a:ext cx="3411529" cy="1422056"/>
      </dsp:txXfrm>
    </dsp:sp>
    <dsp:sp modelId="{987537C2-AA27-4ECC-9A56-66E35CD5EB76}">
      <dsp:nvSpPr>
        <dsp:cNvPr id="0" name=""/>
        <dsp:cNvSpPr/>
      </dsp:nvSpPr>
      <dsp:spPr>
        <a:xfrm>
          <a:off x="1015274" y="1621866"/>
          <a:ext cx="3565389" cy="1575916"/>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Used to connect to master database</a:t>
          </a:r>
          <a:endParaRPr lang="en-US" sz="2400" kern="1200" dirty="0"/>
        </a:p>
      </dsp:txBody>
      <dsp:txXfrm>
        <a:off x="1092204" y="1698796"/>
        <a:ext cx="3411529" cy="1422056"/>
      </dsp:txXfrm>
    </dsp:sp>
    <dsp:sp modelId="{FB288A62-7723-4549-AD05-87605401A11E}">
      <dsp:nvSpPr>
        <dsp:cNvPr id="0" name=""/>
        <dsp:cNvSpPr/>
      </dsp:nvSpPr>
      <dsp:spPr>
        <a:xfrm>
          <a:off x="1015274" y="3242261"/>
          <a:ext cx="3565389" cy="1575916"/>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Create a user in every database.</a:t>
          </a:r>
          <a:endParaRPr lang="en-US" sz="2400" kern="1200" dirty="0"/>
        </a:p>
      </dsp:txBody>
      <dsp:txXfrm>
        <a:off x="1092204" y="3319191"/>
        <a:ext cx="3411529" cy="1422056"/>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078CB6-98D2-46FA-8C9E-0C508012BF5A}">
      <dsp:nvSpPr>
        <dsp:cNvPr id="0" name=""/>
        <dsp:cNvSpPr/>
      </dsp:nvSpPr>
      <dsp:spPr>
        <a:xfrm>
          <a:off x="0" y="820885"/>
          <a:ext cx="10621964" cy="1515480"/>
        </a:xfrm>
        <a:prstGeom prst="roundRect">
          <a:avLst>
            <a:gd name="adj" fmla="val 10000"/>
          </a:avLst>
        </a:prstGeom>
        <a:noFill/>
        <a:ln>
          <a:noFill/>
        </a:ln>
        <a:effectLst/>
      </dsp:spPr>
      <dsp:style>
        <a:lnRef idx="0">
          <a:scrgbClr r="0" g="0" b="0"/>
        </a:lnRef>
        <a:fillRef idx="1">
          <a:scrgbClr r="0" g="0" b="0"/>
        </a:fillRef>
        <a:effectRef idx="0">
          <a:scrgbClr r="0" g="0" b="0"/>
        </a:effectRef>
        <a:fontRef idx="minor"/>
      </dsp:style>
    </dsp:sp>
    <dsp:sp modelId="{7D3EDF49-2269-4E25-9B8A-EE7C7F42F1C8}">
      <dsp:nvSpPr>
        <dsp:cNvPr id="0" name=""/>
        <dsp:cNvSpPr/>
      </dsp:nvSpPr>
      <dsp:spPr>
        <a:xfrm>
          <a:off x="458432" y="1161868"/>
          <a:ext cx="833514" cy="83351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E77A3C5-9E95-4F0F-B71F-F8AA1FA485FF}">
      <dsp:nvSpPr>
        <dsp:cNvPr id="0" name=""/>
        <dsp:cNvSpPr/>
      </dsp:nvSpPr>
      <dsp:spPr>
        <a:xfrm>
          <a:off x="1750379" y="820885"/>
          <a:ext cx="8871584" cy="15154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0388" tIns="160388" rIns="160388" bIns="160388" numCol="1" spcCol="1270" anchor="ctr" anchorCtr="0">
          <a:noAutofit/>
        </a:bodyPr>
        <a:lstStyle/>
        <a:p>
          <a:pPr marL="0" lvl="0" indent="0" algn="l" defTabSz="1066800">
            <a:lnSpc>
              <a:spcPct val="100000"/>
            </a:lnSpc>
            <a:spcBef>
              <a:spcPct val="0"/>
            </a:spcBef>
            <a:spcAft>
              <a:spcPct val="35000"/>
            </a:spcAft>
            <a:buNone/>
          </a:pPr>
          <a:r>
            <a:rPr kumimoji="0" lang="nl-BE" sz="2400" b="0" i="0" u="none" strike="noStrike" kern="1200" cap="none" spc="0" normalizeH="0" baseline="0" dirty="0">
              <a:ln>
                <a:noFill/>
              </a:ln>
              <a:solidFill>
                <a:schemeClr val="tx1"/>
              </a:solidFill>
              <a:effectLst/>
              <a:uLnTx/>
              <a:uFillTx/>
              <a:latin typeface="Segoe UI" panose="020B0502040204020203" pitchFamily="34" charset="0"/>
              <a:ea typeface="+mn-ea"/>
              <a:cs typeface="+mn-cs"/>
            </a:rPr>
            <a:t>Create</a:t>
          </a:r>
          <a:r>
            <a:rPr lang="nl-BE" sz="2400" kern="1200" dirty="0">
              <a:solidFill>
                <a:schemeClr val="tx1"/>
              </a:solidFill>
              <a:latin typeface="Segoe UI" panose="020B0502040204020203" pitchFamily="34" charset="0"/>
              <a:ea typeface="+mn-ea"/>
              <a:cs typeface="+mn-cs"/>
            </a:rPr>
            <a:t> a linked server to the Azure Database.</a:t>
          </a:r>
          <a:endParaRPr lang="en-US" sz="2400" kern="1200" dirty="0">
            <a:solidFill>
              <a:schemeClr val="tx1"/>
            </a:solidFill>
            <a:latin typeface="Segoe UI" panose="020B0502040204020203" pitchFamily="34" charset="0"/>
            <a:ea typeface="+mn-ea"/>
            <a:cs typeface="+mn-cs"/>
          </a:endParaRPr>
        </a:p>
      </dsp:txBody>
      <dsp:txXfrm>
        <a:off x="1750379" y="820885"/>
        <a:ext cx="8871584" cy="1515480"/>
      </dsp:txXfrm>
    </dsp:sp>
    <dsp:sp modelId="{8A8A1765-E37E-4D98-A3EC-64107B28BF0C}">
      <dsp:nvSpPr>
        <dsp:cNvPr id="0" name=""/>
        <dsp:cNvSpPr/>
      </dsp:nvSpPr>
      <dsp:spPr>
        <a:xfrm>
          <a:off x="0" y="2715235"/>
          <a:ext cx="10621964" cy="1515480"/>
        </a:xfrm>
        <a:prstGeom prst="roundRect">
          <a:avLst>
            <a:gd name="adj" fmla="val 10000"/>
          </a:avLst>
        </a:prstGeom>
        <a:noFill/>
        <a:ln>
          <a:noFill/>
        </a:ln>
        <a:effectLst/>
      </dsp:spPr>
      <dsp:style>
        <a:lnRef idx="0">
          <a:scrgbClr r="0" g="0" b="0"/>
        </a:lnRef>
        <a:fillRef idx="1">
          <a:scrgbClr r="0" g="0" b="0"/>
        </a:fillRef>
        <a:effectRef idx="0">
          <a:scrgbClr r="0" g="0" b="0"/>
        </a:effectRef>
        <a:fontRef idx="minor"/>
      </dsp:style>
    </dsp:sp>
    <dsp:sp modelId="{2923DE33-6FA0-4FFA-9BAE-19C83CF69868}">
      <dsp:nvSpPr>
        <dsp:cNvPr id="0" name=""/>
        <dsp:cNvSpPr/>
      </dsp:nvSpPr>
      <dsp:spPr>
        <a:xfrm>
          <a:off x="458432" y="3056218"/>
          <a:ext cx="833514" cy="83351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13234C9-3501-4AEF-87ED-DBA02D6B4151}">
      <dsp:nvSpPr>
        <dsp:cNvPr id="0" name=""/>
        <dsp:cNvSpPr/>
      </dsp:nvSpPr>
      <dsp:spPr>
        <a:xfrm>
          <a:off x="1750379" y="2715235"/>
          <a:ext cx="8871584" cy="15154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0388" tIns="160388" rIns="160388" bIns="160388" numCol="1" spcCol="1270" anchor="ctr" anchorCtr="0">
          <a:noAutofit/>
        </a:bodyPr>
        <a:lstStyle/>
        <a:p>
          <a:pPr marL="0" lvl="0" indent="0" algn="l" defTabSz="1066800">
            <a:lnSpc>
              <a:spcPct val="100000"/>
            </a:lnSpc>
            <a:spcBef>
              <a:spcPct val="0"/>
            </a:spcBef>
            <a:spcAft>
              <a:spcPct val="35000"/>
            </a:spcAft>
            <a:buNone/>
          </a:pPr>
          <a:r>
            <a:rPr kumimoji="0" lang="nl-BE" sz="2400" b="0" i="0" u="none" strike="noStrike" kern="1200" cap="none" spc="0" normalizeH="0" baseline="0" dirty="0">
              <a:ln>
                <a:noFill/>
              </a:ln>
              <a:solidFill>
                <a:schemeClr val="tx1"/>
              </a:solidFill>
              <a:effectLst/>
              <a:uLnTx/>
              <a:uFillTx/>
              <a:latin typeface="Segoe UI" panose="020B0502040204020203" pitchFamily="34" charset="0"/>
              <a:ea typeface="+mn-ea"/>
              <a:cs typeface="+mn-cs"/>
            </a:rPr>
            <a:t>Schedule</a:t>
          </a:r>
          <a:r>
            <a:rPr lang="nl-BE" sz="2400" kern="1200" dirty="0">
              <a:solidFill>
                <a:schemeClr val="tx1"/>
              </a:solidFill>
              <a:latin typeface="Segoe UI" panose="020B0502040204020203" pitchFamily="34" charset="0"/>
              <a:ea typeface="+mn-ea"/>
              <a:cs typeface="+mn-cs"/>
            </a:rPr>
            <a:t> the job from your on-premises or Azure VM SQL Server by using the linked server.</a:t>
          </a:r>
          <a:endParaRPr lang="en-US" sz="2400" kern="1200" dirty="0">
            <a:solidFill>
              <a:schemeClr val="tx1"/>
            </a:solidFill>
            <a:latin typeface="Segoe UI" panose="020B0502040204020203" pitchFamily="34" charset="0"/>
            <a:ea typeface="+mn-ea"/>
            <a:cs typeface="+mn-cs"/>
          </a:endParaRPr>
        </a:p>
      </dsp:txBody>
      <dsp:txXfrm>
        <a:off x="1750379" y="2715235"/>
        <a:ext cx="8871584" cy="1515480"/>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243B323-9ED0-40B6-B976-D36F7DE88463}">
      <dsp:nvSpPr>
        <dsp:cNvPr id="0" name=""/>
        <dsp:cNvSpPr/>
      </dsp:nvSpPr>
      <dsp:spPr>
        <a:xfrm>
          <a:off x="0" y="821368"/>
          <a:ext cx="10880726" cy="144494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Microsoft Azure Automation provides a way for users to automate the manual, long-running, error-prone, and frequently repeated tasks that are commonly performed in a cloud and enterprise environment.</a:t>
          </a:r>
          <a:endParaRPr lang="en-US" sz="2400" kern="1200" dirty="0"/>
        </a:p>
      </dsp:txBody>
      <dsp:txXfrm>
        <a:off x="70537" y="891905"/>
        <a:ext cx="10739652" cy="1303875"/>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8A2FD-D0F5-448D-8D98-3014EA0BAAE1}">
      <dsp:nvSpPr>
        <dsp:cNvPr id="0" name=""/>
        <dsp:cNvSpPr/>
      </dsp:nvSpPr>
      <dsp:spPr>
        <a:xfrm>
          <a:off x="933954" y="899691"/>
          <a:ext cx="1448488" cy="144848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DC4A41D-A9D4-480B-96DA-5966572F6803}">
      <dsp:nvSpPr>
        <dsp:cNvPr id="0" name=""/>
        <dsp:cNvSpPr/>
      </dsp:nvSpPr>
      <dsp:spPr>
        <a:xfrm>
          <a:off x="48766" y="2819001"/>
          <a:ext cx="3218863" cy="121693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pPr>
          <a:r>
            <a:rPr lang="en-US" sz="1800" kern="1200" dirty="0">
              <a:solidFill>
                <a:schemeClr val="tx1"/>
              </a:solidFill>
              <a:latin typeface="Segoe UI" panose="020B0502040204020203" pitchFamily="34" charset="0"/>
              <a:ea typeface="+mn-ea"/>
              <a:cs typeface="Segoe UI" panose="020B0502040204020203" pitchFamily="34" charset="0"/>
            </a:rPr>
            <a:t>Automating processes with runbooks.</a:t>
          </a:r>
        </a:p>
        <a:p>
          <a:pPr marL="0" lvl="0" indent="0" algn="ctr" defTabSz="800100">
            <a:spcBef>
              <a:spcPct val="0"/>
            </a:spcBef>
            <a:spcAft>
              <a:spcPct val="35000"/>
            </a:spcAft>
            <a:buNone/>
          </a:pPr>
          <a:endParaRPr lang="en-US" sz="1800" kern="1200" dirty="0">
            <a:solidFill>
              <a:srgbClr val="505050">
                <a:hueOff val="0"/>
                <a:satOff val="0"/>
                <a:lumOff val="0"/>
                <a:alphaOff val="0"/>
              </a:srgbClr>
            </a:solidFill>
            <a:latin typeface="Segoe UI"/>
            <a:ea typeface="+mn-ea"/>
            <a:cs typeface="+mn-cs"/>
          </a:endParaRPr>
        </a:p>
      </dsp:txBody>
      <dsp:txXfrm>
        <a:off x="48766" y="2819001"/>
        <a:ext cx="3218863" cy="1216933"/>
      </dsp:txXfrm>
    </dsp:sp>
    <dsp:sp modelId="{DD94858B-146D-4616-B322-8F0892E86848}">
      <dsp:nvSpPr>
        <dsp:cNvPr id="0" name=""/>
        <dsp:cNvSpPr/>
      </dsp:nvSpPr>
      <dsp:spPr>
        <a:xfrm>
          <a:off x="4716118" y="899691"/>
          <a:ext cx="1448488" cy="144848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B765A35-C7C1-492D-A150-1D83767B413A}">
      <dsp:nvSpPr>
        <dsp:cNvPr id="0" name=""/>
        <dsp:cNvSpPr/>
      </dsp:nvSpPr>
      <dsp:spPr>
        <a:xfrm>
          <a:off x="3830931" y="2819001"/>
          <a:ext cx="3218863" cy="121693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algn="ctr">
            <a:lnSpc>
              <a:spcPct val="100000"/>
            </a:lnSpc>
            <a:spcBef>
              <a:spcPct val="0"/>
            </a:spcBef>
            <a:buNone/>
          </a:pPr>
          <a:r>
            <a:rPr lang="en-US" sz="1800" kern="1200" dirty="0">
              <a:solidFill>
                <a:schemeClr val="tx1"/>
              </a:solidFill>
              <a:latin typeface="Segoe UI" panose="020B0502040204020203" pitchFamily="34" charset="0"/>
              <a:ea typeface="+mn-ea"/>
              <a:cs typeface="+mn-cs"/>
            </a:rPr>
            <a:t>Runbook is a set of tasks that perform some automated process in Azure Automation.</a:t>
          </a:r>
        </a:p>
        <a:p>
          <a:pPr marL="0" lvl="0" indent="0" algn="ctr" defTabSz="933450">
            <a:spcBef>
              <a:spcPct val="0"/>
            </a:spcBef>
            <a:spcAft>
              <a:spcPct val="35000"/>
            </a:spcAft>
            <a:buNone/>
          </a:pPr>
          <a:endParaRPr lang="en-US" sz="1800" kern="1200" baseline="0" dirty="0">
            <a:solidFill>
              <a:schemeClr val="tx1"/>
            </a:solidFill>
            <a:latin typeface="Segoe UI" panose="020B0502040204020203" pitchFamily="34" charset="0"/>
            <a:ea typeface="+mn-ea"/>
            <a:cs typeface="+mn-cs"/>
          </a:endParaRPr>
        </a:p>
      </dsp:txBody>
      <dsp:txXfrm>
        <a:off x="3830931" y="2819001"/>
        <a:ext cx="3218863" cy="1216933"/>
      </dsp:txXfrm>
    </dsp:sp>
    <dsp:sp modelId="{09C27167-C41E-48C8-A3AC-641162C45E8F}">
      <dsp:nvSpPr>
        <dsp:cNvPr id="0" name=""/>
        <dsp:cNvSpPr/>
      </dsp:nvSpPr>
      <dsp:spPr>
        <a:xfrm>
          <a:off x="8498283" y="899691"/>
          <a:ext cx="1448488" cy="144848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83265CB-5643-428E-B8F7-5EC6F53AFA65}">
      <dsp:nvSpPr>
        <dsp:cNvPr id="0" name=""/>
        <dsp:cNvSpPr/>
      </dsp:nvSpPr>
      <dsp:spPr>
        <a:xfrm>
          <a:off x="7613095" y="2819001"/>
          <a:ext cx="3218863" cy="121693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pPr>
          <a:r>
            <a:rPr lang="en-US" sz="1800" kern="1200" dirty="0">
              <a:solidFill>
                <a:schemeClr val="tx1"/>
              </a:solidFill>
              <a:latin typeface="Segoe UI" panose="020B0502040204020203" pitchFamily="34" charset="0"/>
              <a:ea typeface="+mn-ea"/>
              <a:cs typeface="+mn-cs"/>
            </a:rPr>
            <a:t>Based on Windows PowerShell/ Windows PowerShell Workflow.</a:t>
          </a:r>
        </a:p>
      </dsp:txBody>
      <dsp:txXfrm>
        <a:off x="7613095" y="2819001"/>
        <a:ext cx="3218863" cy="121693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F1D71A-5372-4ACA-AF75-E8A494B9E0A3}">
      <dsp:nvSpPr>
        <dsp:cNvPr id="0" name=""/>
        <dsp:cNvSpPr/>
      </dsp:nvSpPr>
      <dsp:spPr>
        <a:xfrm>
          <a:off x="5920" y="1153227"/>
          <a:ext cx="1769452" cy="2094313"/>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baseline="0"/>
            <a:t>Download the latest version of SSDT.</a:t>
          </a:r>
          <a:endParaRPr lang="en-US" sz="2000" kern="1200"/>
        </a:p>
      </dsp:txBody>
      <dsp:txXfrm>
        <a:off x="57745" y="1205052"/>
        <a:ext cx="1665802" cy="1990663"/>
      </dsp:txXfrm>
    </dsp:sp>
    <dsp:sp modelId="{CDE82545-E10A-4425-8721-DBCD3EB85392}">
      <dsp:nvSpPr>
        <dsp:cNvPr id="0" name=""/>
        <dsp:cNvSpPr/>
      </dsp:nvSpPr>
      <dsp:spPr>
        <a:xfrm>
          <a:off x="1952318" y="1980972"/>
          <a:ext cx="375124" cy="438824"/>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1952318" y="2068737"/>
        <a:ext cx="262587" cy="263294"/>
      </dsp:txXfrm>
    </dsp:sp>
    <dsp:sp modelId="{94CB2C75-E19A-4D95-9C38-1822337E482F}">
      <dsp:nvSpPr>
        <dsp:cNvPr id="0" name=""/>
        <dsp:cNvSpPr/>
      </dsp:nvSpPr>
      <dsp:spPr>
        <a:xfrm>
          <a:off x="2483154" y="1153227"/>
          <a:ext cx="1769452" cy="2094313"/>
        </a:xfrm>
        <a:prstGeom prst="roundRect">
          <a:avLst>
            <a:gd name="adj" fmla="val 10000"/>
          </a:avLst>
        </a:prstGeom>
        <a:solidFill>
          <a:schemeClr val="accent2">
            <a:hueOff val="-6031536"/>
            <a:satOff val="27236"/>
            <a:lumOff val="852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baseline="0" dirty="0"/>
            <a:t>Get the fully qualified domain name of your Azure SQL Server.</a:t>
          </a:r>
          <a:endParaRPr lang="en-US" sz="2000" kern="1200" dirty="0"/>
        </a:p>
      </dsp:txBody>
      <dsp:txXfrm>
        <a:off x="2534979" y="1205052"/>
        <a:ext cx="1665802" cy="1990663"/>
      </dsp:txXfrm>
    </dsp:sp>
    <dsp:sp modelId="{1ADFBFD9-3FAD-4050-9112-76D56B934E5F}">
      <dsp:nvSpPr>
        <dsp:cNvPr id="0" name=""/>
        <dsp:cNvSpPr/>
      </dsp:nvSpPr>
      <dsp:spPr>
        <a:xfrm>
          <a:off x="4429552" y="1980972"/>
          <a:ext cx="375124" cy="438824"/>
        </a:xfrm>
        <a:prstGeom prst="rightArrow">
          <a:avLst>
            <a:gd name="adj1" fmla="val 60000"/>
            <a:gd name="adj2" fmla="val 50000"/>
          </a:avLst>
        </a:prstGeom>
        <a:solidFill>
          <a:schemeClr val="accent2">
            <a:hueOff val="-12063073"/>
            <a:satOff val="54471"/>
            <a:lumOff val="17057"/>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4429552" y="2068737"/>
        <a:ext cx="262587" cy="263294"/>
      </dsp:txXfrm>
    </dsp:sp>
    <dsp:sp modelId="{CC673CCA-A32F-4316-B153-3E0197EF3EF8}">
      <dsp:nvSpPr>
        <dsp:cNvPr id="0" name=""/>
        <dsp:cNvSpPr/>
      </dsp:nvSpPr>
      <dsp:spPr>
        <a:xfrm>
          <a:off x="4960388" y="1153227"/>
          <a:ext cx="1769452" cy="2094313"/>
        </a:xfrm>
        <a:prstGeom prst="roundRect">
          <a:avLst>
            <a:gd name="adj" fmla="val 10000"/>
          </a:avLst>
        </a:prstGeom>
        <a:solidFill>
          <a:schemeClr val="accent2">
            <a:hueOff val="-12063073"/>
            <a:satOff val="54471"/>
            <a:lumOff val="1705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baseline="0"/>
            <a:t>Connect to your SQL Database.</a:t>
          </a:r>
          <a:endParaRPr lang="en-US" sz="2000" kern="1200"/>
        </a:p>
      </dsp:txBody>
      <dsp:txXfrm>
        <a:off x="5012213" y="1205052"/>
        <a:ext cx="1665802" cy="1990663"/>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35531"/>
          <a:ext cx="10880725" cy="937901"/>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dirty="0">
              <a:solidFill>
                <a:srgbClr val="FFFFFF"/>
              </a:solidFill>
            </a:rPr>
            <a:t>True or False; Index maintenance still needs to be done by the DBA?</a:t>
          </a:r>
          <a:endParaRPr lang="en-US" sz="2200" kern="1200" dirty="0"/>
        </a:p>
      </dsp:txBody>
      <dsp:txXfrm>
        <a:off x="45785" y="81316"/>
        <a:ext cx="10789155" cy="846331"/>
      </dsp:txXfrm>
    </dsp:sp>
    <dsp:sp modelId="{A5F39E97-65C6-43B1-B3C1-20A35D170009}">
      <dsp:nvSpPr>
        <dsp:cNvPr id="0" name=""/>
        <dsp:cNvSpPr/>
      </dsp:nvSpPr>
      <dsp:spPr>
        <a:xfrm>
          <a:off x="0" y="1036792"/>
          <a:ext cx="10880725" cy="937901"/>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Font typeface="Arial" panose="020B0604020202020204" pitchFamily="34" charset="0"/>
            <a:buNone/>
          </a:pPr>
          <a:r>
            <a:rPr lang="en-US" sz="2200" kern="1200" dirty="0">
              <a:solidFill>
                <a:srgbClr val="FFFFFF"/>
              </a:solidFill>
            </a:rPr>
            <a:t>True or False; SQL Server Jobs are scheduled as in on premises using SQL Server Agent for Azure SQL database?</a:t>
          </a:r>
          <a:endParaRPr lang="en-US" sz="2200" kern="1200" dirty="0"/>
        </a:p>
      </dsp:txBody>
      <dsp:txXfrm>
        <a:off x="45785" y="1082577"/>
        <a:ext cx="10789155" cy="846331"/>
      </dsp:txXfrm>
    </dsp:sp>
    <dsp:sp modelId="{89B78076-25D5-457E-A6BA-FD4B9CAE144E}">
      <dsp:nvSpPr>
        <dsp:cNvPr id="0" name=""/>
        <dsp:cNvSpPr/>
      </dsp:nvSpPr>
      <dsp:spPr>
        <a:xfrm>
          <a:off x="0" y="2038054"/>
          <a:ext cx="10880725" cy="937901"/>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Font typeface="Arial" panose="020B0604020202020204" pitchFamily="34" charset="0"/>
            <a:buNone/>
          </a:pPr>
          <a:r>
            <a:rPr lang="en-US" sz="2200" kern="1200" dirty="0"/>
            <a:t>Why should you use Elastic Jobs. Give some examples</a:t>
          </a:r>
          <a:r>
            <a:rPr kumimoji="0" lang="en-US" sz="2200" b="0" i="0" u="none" strike="noStrike" kern="1200" cap="none" spc="0" normalizeH="0" baseline="0" noProof="0" dirty="0">
              <a:ln>
                <a:noFill/>
              </a:ln>
              <a:solidFill>
                <a:srgbClr val="FFFFFF"/>
              </a:solidFill>
              <a:effectLst/>
              <a:uLnTx/>
              <a:uFillTx/>
              <a:latin typeface="Segoe UI"/>
              <a:ea typeface="+mn-ea"/>
              <a:cs typeface="+mn-cs"/>
            </a:rPr>
            <a:t>?</a:t>
          </a:r>
          <a:endParaRPr lang="en-US" sz="2200" kern="1200" dirty="0"/>
        </a:p>
      </dsp:txBody>
      <dsp:txXfrm>
        <a:off x="45785" y="2083839"/>
        <a:ext cx="10789155" cy="846331"/>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1EF69C-D054-4FAA-B1BA-1ABEBA2D8BFD}">
      <dsp:nvSpPr>
        <dsp:cNvPr id="0" name=""/>
        <dsp:cNvSpPr/>
      </dsp:nvSpPr>
      <dsp:spPr>
        <a:xfrm>
          <a:off x="816054" y="0"/>
          <a:ext cx="9248617" cy="4819650"/>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FAB8C97-618B-4BB9-BB4D-F246D1FC7256}">
      <dsp:nvSpPr>
        <dsp:cNvPr id="0" name=""/>
        <dsp:cNvSpPr/>
      </dsp:nvSpPr>
      <dsp:spPr>
        <a:xfrm>
          <a:off x="3001964" y="1487478"/>
          <a:ext cx="3978265" cy="19278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Read Scale-Out allows read-only workloads to be redirected to a SINGLE secondary replica.</a:t>
          </a:r>
          <a:endParaRPr lang="en-US" sz="2400" kern="1200" dirty="0"/>
        </a:p>
      </dsp:txBody>
      <dsp:txXfrm>
        <a:off x="3096074" y="1581588"/>
        <a:ext cx="3790045" cy="1739640"/>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DD544B-8616-468A-9C4B-F4C398285E9D}">
      <dsp:nvSpPr>
        <dsp:cNvPr id="0" name=""/>
        <dsp:cNvSpPr/>
      </dsp:nvSpPr>
      <dsp:spPr>
        <a:xfrm>
          <a:off x="0" y="29504"/>
          <a:ext cx="6049962" cy="10670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baseline="0" dirty="0"/>
            <a:t>Each database in the Premium and Business Critical service tiers is automatically provisioned with several </a:t>
          </a:r>
          <a:r>
            <a:rPr lang="en-US" sz="1400" kern="1200" baseline="0" dirty="0" err="1"/>
            <a:t>AlwaysON</a:t>
          </a:r>
          <a:r>
            <a:rPr lang="en-US" sz="1400" kern="1200" baseline="0" dirty="0"/>
            <a:t> replicas to support the availability SLA. These replicas are provisioned with the same compute size as the read-write.</a:t>
          </a:r>
          <a:endParaRPr lang="en-US" sz="1400" kern="1200" dirty="0"/>
        </a:p>
      </dsp:txBody>
      <dsp:txXfrm>
        <a:off x="52089" y="81593"/>
        <a:ext cx="5945784" cy="962862"/>
      </dsp:txXfrm>
    </dsp:sp>
    <dsp:sp modelId="{55F58ECE-E330-4A66-8ACD-CC97126ECAFB}">
      <dsp:nvSpPr>
        <dsp:cNvPr id="0" name=""/>
        <dsp:cNvSpPr/>
      </dsp:nvSpPr>
      <dsp:spPr>
        <a:xfrm>
          <a:off x="0" y="1260704"/>
          <a:ext cx="6049962" cy="10670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baseline="0" dirty="0"/>
            <a:t>Read Scale-Out redirects the read-only client connections to one of the ready-only replicas available instead of sharing the read-write replica.</a:t>
          </a:r>
          <a:endParaRPr lang="en-US" sz="1400" kern="1200" dirty="0"/>
        </a:p>
      </dsp:txBody>
      <dsp:txXfrm>
        <a:off x="52089" y="1312793"/>
        <a:ext cx="5945784" cy="962862"/>
      </dsp:txXfrm>
    </dsp:sp>
    <dsp:sp modelId="{D3F384AA-85F2-4B08-B574-A483E80232AD}">
      <dsp:nvSpPr>
        <dsp:cNvPr id="0" name=""/>
        <dsp:cNvSpPr/>
      </dsp:nvSpPr>
      <dsp:spPr>
        <a:xfrm>
          <a:off x="0" y="2491905"/>
          <a:ext cx="6049962" cy="10670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baseline="0" dirty="0"/>
            <a:t>Effectively isolate the read-only workload from the main read-write workload and doubles the compute capacity of the database or elastic pool at no additional charge.</a:t>
          </a:r>
          <a:endParaRPr lang="en-US" sz="1400" kern="1200" dirty="0"/>
        </a:p>
      </dsp:txBody>
      <dsp:txXfrm>
        <a:off x="52089" y="2543994"/>
        <a:ext cx="5945784" cy="962862"/>
      </dsp:txXfrm>
    </dsp:sp>
    <dsp:sp modelId="{24E8AE9F-B2AC-4814-AFA5-0F6C69A7DFC0}">
      <dsp:nvSpPr>
        <dsp:cNvPr id="0" name=""/>
        <dsp:cNvSpPr/>
      </dsp:nvSpPr>
      <dsp:spPr>
        <a:xfrm>
          <a:off x="0" y="3723105"/>
          <a:ext cx="6049962" cy="10670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baseline="0"/>
            <a:t>This is ideal to scale-out for complex analytical workloads without affecting the primary OLTP workload.</a:t>
          </a:r>
          <a:endParaRPr lang="en-US" sz="1400" kern="1200"/>
        </a:p>
      </dsp:txBody>
      <dsp:txXfrm>
        <a:off x="52089" y="3775194"/>
        <a:ext cx="5945784" cy="962862"/>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72F1D4-59D0-4A2F-9BE1-009D9D6180E8}">
      <dsp:nvSpPr>
        <dsp:cNvPr id="0" name=""/>
        <dsp:cNvSpPr/>
      </dsp:nvSpPr>
      <dsp:spPr>
        <a:xfrm>
          <a:off x="3400" y="592814"/>
          <a:ext cx="3315221" cy="4608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US" sz="1600" kern="1200" baseline="0" dirty="0"/>
            <a:t>Default Configuration</a:t>
          </a:r>
          <a:endParaRPr lang="en-US" sz="1600" kern="1200" dirty="0"/>
        </a:p>
      </dsp:txBody>
      <dsp:txXfrm>
        <a:off x="3400" y="592814"/>
        <a:ext cx="3315221" cy="460800"/>
      </dsp:txXfrm>
    </dsp:sp>
    <dsp:sp modelId="{0CA19D99-6341-4AA5-8ADE-C7331799DC17}">
      <dsp:nvSpPr>
        <dsp:cNvPr id="0" name=""/>
        <dsp:cNvSpPr/>
      </dsp:nvSpPr>
      <dsp:spPr>
        <a:xfrm>
          <a:off x="3400" y="1053615"/>
          <a:ext cx="3315221" cy="3173220"/>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b="1" kern="1200" baseline="0" dirty="0"/>
            <a:t>Enabled</a:t>
          </a:r>
          <a:r>
            <a:rPr lang="en-US" sz="1600" kern="1200" baseline="0" dirty="0"/>
            <a:t> in </a:t>
          </a:r>
          <a:r>
            <a:rPr lang="en-US" sz="1600" b="1" kern="1200" baseline="0" dirty="0"/>
            <a:t>Managed Instance </a:t>
          </a:r>
          <a:r>
            <a:rPr lang="en-US" sz="1600" kern="1200" baseline="0" dirty="0"/>
            <a:t>Business Critical tier.</a:t>
          </a:r>
          <a:endParaRPr lang="en-US" sz="1600" kern="1200" dirty="0"/>
        </a:p>
        <a:p>
          <a:pPr marL="171450" lvl="1" indent="-171450" algn="l" defTabSz="711200">
            <a:lnSpc>
              <a:spcPct val="90000"/>
            </a:lnSpc>
            <a:spcBef>
              <a:spcPct val="0"/>
            </a:spcBef>
            <a:spcAft>
              <a:spcPct val="15000"/>
            </a:spcAft>
            <a:buChar char="•"/>
          </a:pPr>
          <a:r>
            <a:rPr lang="en-US" sz="1600" b="1" kern="1200" baseline="0" dirty="0"/>
            <a:t>Disabled</a:t>
          </a:r>
          <a:r>
            <a:rPr lang="en-US" sz="1600" kern="1200" baseline="0" dirty="0"/>
            <a:t> in </a:t>
          </a:r>
          <a:r>
            <a:rPr lang="en-US" sz="1600" b="1" kern="1200" baseline="0" dirty="0"/>
            <a:t>database</a:t>
          </a:r>
          <a:r>
            <a:rPr lang="en-US" sz="1600" kern="1200" baseline="0" dirty="0"/>
            <a:t> placed on </a:t>
          </a:r>
          <a:r>
            <a:rPr lang="en-US" sz="1600" b="1" kern="1200" baseline="0" dirty="0"/>
            <a:t>SQL Database server </a:t>
          </a:r>
          <a:r>
            <a:rPr lang="en-US" sz="1600" kern="1200" baseline="0" dirty="0"/>
            <a:t>Premium and Business Critical tiers.</a:t>
          </a:r>
          <a:endParaRPr lang="en-US" sz="1600" kern="1200" dirty="0"/>
        </a:p>
      </dsp:txBody>
      <dsp:txXfrm>
        <a:off x="3400" y="1053615"/>
        <a:ext cx="3315221" cy="3173220"/>
      </dsp:txXfrm>
    </dsp:sp>
    <dsp:sp modelId="{583E3025-8C21-4ED9-8CD1-885CF788710B}">
      <dsp:nvSpPr>
        <dsp:cNvPr id="0" name=""/>
        <dsp:cNvSpPr/>
      </dsp:nvSpPr>
      <dsp:spPr>
        <a:xfrm>
          <a:off x="3782752" y="592814"/>
          <a:ext cx="3315221" cy="460800"/>
        </a:xfrm>
        <a:prstGeom prst="rect">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US" sz="1600" kern="1200" baseline="0"/>
            <a:t>Setup Methods</a:t>
          </a:r>
          <a:endParaRPr lang="en-US" sz="1600" kern="1200"/>
        </a:p>
      </dsp:txBody>
      <dsp:txXfrm>
        <a:off x="3782752" y="592814"/>
        <a:ext cx="3315221" cy="460800"/>
      </dsp:txXfrm>
    </dsp:sp>
    <dsp:sp modelId="{2D4FC1E7-3604-430E-A363-00FE15F3D8FE}">
      <dsp:nvSpPr>
        <dsp:cNvPr id="0" name=""/>
        <dsp:cNvSpPr/>
      </dsp:nvSpPr>
      <dsp:spPr>
        <a:xfrm>
          <a:off x="3782752" y="1053615"/>
          <a:ext cx="3315221" cy="3173220"/>
        </a:xfrm>
        <a:prstGeom prst="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b="1" kern="1200" baseline="0" dirty="0"/>
            <a:t>Azure Portal</a:t>
          </a:r>
          <a:endParaRPr lang="en-US" sz="1600" b="1" kern="1200" dirty="0"/>
        </a:p>
        <a:p>
          <a:pPr marL="342900" lvl="2" indent="-171450" algn="l" defTabSz="711200">
            <a:lnSpc>
              <a:spcPct val="90000"/>
            </a:lnSpc>
            <a:spcBef>
              <a:spcPct val="0"/>
            </a:spcBef>
            <a:spcAft>
              <a:spcPct val="15000"/>
            </a:spcAft>
            <a:buChar char="•"/>
          </a:pPr>
          <a:r>
            <a:rPr lang="en-US" sz="1600" kern="1200" baseline="0" dirty="0"/>
            <a:t>Settings &gt; Configure &gt; Premium/Business Critical tier &gt; Read scale-out.</a:t>
          </a:r>
          <a:endParaRPr lang="en-US" sz="1600" kern="1200" dirty="0"/>
        </a:p>
        <a:p>
          <a:pPr marL="171450" lvl="1" indent="-171450" algn="l" defTabSz="711200">
            <a:lnSpc>
              <a:spcPct val="90000"/>
            </a:lnSpc>
            <a:spcBef>
              <a:spcPct val="0"/>
            </a:spcBef>
            <a:spcAft>
              <a:spcPct val="15000"/>
            </a:spcAft>
            <a:buChar char="•"/>
          </a:pPr>
          <a:r>
            <a:rPr lang="en-US" sz="1600" b="1" kern="1200" baseline="0" dirty="0"/>
            <a:t>PowerShell</a:t>
          </a:r>
          <a:endParaRPr lang="en-US" sz="1600" b="1" kern="1200" dirty="0"/>
        </a:p>
        <a:p>
          <a:pPr marL="342900" lvl="2" indent="-171450" algn="l" defTabSz="711200">
            <a:lnSpc>
              <a:spcPct val="90000"/>
            </a:lnSpc>
            <a:spcBef>
              <a:spcPct val="0"/>
            </a:spcBef>
            <a:spcAft>
              <a:spcPct val="15000"/>
            </a:spcAft>
            <a:buChar char="•"/>
          </a:pPr>
          <a:r>
            <a:rPr lang="en-US" sz="1600" kern="1200" baseline="0" dirty="0"/>
            <a:t>Set-</a:t>
          </a:r>
          <a:r>
            <a:rPr lang="en-US" sz="1600" kern="1200" baseline="0" dirty="0" err="1"/>
            <a:t>AzSqlDatabase</a:t>
          </a:r>
          <a:r>
            <a:rPr lang="en-US" sz="1600" kern="1200" baseline="0" dirty="0"/>
            <a:t> or</a:t>
          </a:r>
          <a:endParaRPr lang="en-US" sz="1600" kern="1200" dirty="0"/>
        </a:p>
        <a:p>
          <a:pPr marL="342900" lvl="2" indent="-171450" algn="l" defTabSz="711200">
            <a:lnSpc>
              <a:spcPct val="90000"/>
            </a:lnSpc>
            <a:spcBef>
              <a:spcPct val="0"/>
            </a:spcBef>
            <a:spcAft>
              <a:spcPct val="15000"/>
            </a:spcAft>
            <a:buChar char="•"/>
          </a:pPr>
          <a:r>
            <a:rPr lang="en-US" sz="1600" kern="1200" baseline="0"/>
            <a:t>New-AzSqlDatabase cmdlets.</a:t>
          </a:r>
          <a:endParaRPr lang="en-US" sz="1600" kern="1200"/>
        </a:p>
        <a:p>
          <a:pPr marL="171450" lvl="1" indent="-171450" algn="l" defTabSz="711200">
            <a:lnSpc>
              <a:spcPct val="90000"/>
            </a:lnSpc>
            <a:spcBef>
              <a:spcPct val="0"/>
            </a:spcBef>
            <a:spcAft>
              <a:spcPct val="15000"/>
            </a:spcAft>
            <a:buChar char="•"/>
          </a:pPr>
          <a:r>
            <a:rPr lang="en-US" sz="1600" b="1" kern="1200" baseline="0" dirty="0"/>
            <a:t>Azure Resource Manager REST API</a:t>
          </a:r>
          <a:endParaRPr lang="en-US" sz="1600" b="1" kern="1200" dirty="0"/>
        </a:p>
        <a:p>
          <a:pPr marL="342900" lvl="2" indent="-171450" algn="l" defTabSz="711200">
            <a:lnSpc>
              <a:spcPct val="90000"/>
            </a:lnSpc>
            <a:spcBef>
              <a:spcPct val="0"/>
            </a:spcBef>
            <a:spcAft>
              <a:spcPct val="15000"/>
            </a:spcAft>
            <a:buChar char="•"/>
          </a:pPr>
          <a:r>
            <a:rPr lang="en-US" sz="1600" kern="1200" baseline="0" dirty="0"/>
            <a:t>Create or</a:t>
          </a:r>
          <a:endParaRPr lang="en-US" sz="1600" kern="1200" dirty="0"/>
        </a:p>
        <a:p>
          <a:pPr marL="342900" lvl="2" indent="-171450" algn="l" defTabSz="711200">
            <a:lnSpc>
              <a:spcPct val="90000"/>
            </a:lnSpc>
            <a:spcBef>
              <a:spcPct val="0"/>
            </a:spcBef>
            <a:spcAft>
              <a:spcPct val="15000"/>
            </a:spcAft>
            <a:buChar char="•"/>
          </a:pPr>
          <a:r>
            <a:rPr lang="en-US" sz="1600" kern="1200" baseline="0"/>
            <a:t>Update method</a:t>
          </a:r>
          <a:endParaRPr lang="en-US" sz="1600" kern="1200"/>
        </a:p>
      </dsp:txBody>
      <dsp:txXfrm>
        <a:off x="3782752" y="1053615"/>
        <a:ext cx="3315221" cy="3173220"/>
      </dsp:txXfrm>
    </dsp:sp>
    <dsp:sp modelId="{669A4D86-6CC0-458B-B7AF-EBCDF87B3CC1}">
      <dsp:nvSpPr>
        <dsp:cNvPr id="0" name=""/>
        <dsp:cNvSpPr/>
      </dsp:nvSpPr>
      <dsp:spPr>
        <a:xfrm>
          <a:off x="7562104" y="592814"/>
          <a:ext cx="3315221" cy="460800"/>
        </a:xfrm>
        <a:prstGeom prst="rect">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US" sz="1600" kern="1200" baseline="0"/>
            <a:t>Connection</a:t>
          </a:r>
          <a:endParaRPr lang="en-US" sz="1600" kern="1200"/>
        </a:p>
      </dsp:txBody>
      <dsp:txXfrm>
        <a:off x="7562104" y="592814"/>
        <a:ext cx="3315221" cy="460800"/>
      </dsp:txXfrm>
    </dsp:sp>
    <dsp:sp modelId="{9C128D4E-4FD8-4524-B3C0-555AF1F33DB8}">
      <dsp:nvSpPr>
        <dsp:cNvPr id="0" name=""/>
        <dsp:cNvSpPr/>
      </dsp:nvSpPr>
      <dsp:spPr>
        <a:xfrm>
          <a:off x="7562104" y="1053615"/>
          <a:ext cx="3315221" cy="3173220"/>
        </a:xfrm>
        <a:prstGeom prst="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kern="1200" baseline="0" dirty="0"/>
            <a:t>Applications will be directed to either the read-write replica or to a read-only replica according to the </a:t>
          </a:r>
          <a:r>
            <a:rPr lang="en-US" sz="1600" b="1" kern="1200" baseline="0" dirty="0" err="1"/>
            <a:t>ApplicationIntent</a:t>
          </a:r>
          <a:r>
            <a:rPr lang="en-US" sz="1600" b="1" kern="1200" baseline="0" dirty="0"/>
            <a:t> property </a:t>
          </a:r>
          <a:r>
            <a:rPr lang="en-US" sz="1600" kern="1200" baseline="0" dirty="0"/>
            <a:t>configured in the application’s </a:t>
          </a:r>
          <a:r>
            <a:rPr lang="en-US" sz="1600" b="1" kern="1200" baseline="0" dirty="0"/>
            <a:t>connection</a:t>
          </a:r>
          <a:r>
            <a:rPr lang="en-US" sz="1600" kern="1200" baseline="0" dirty="0"/>
            <a:t> </a:t>
          </a:r>
          <a:r>
            <a:rPr lang="en-US" sz="1600" b="1" kern="1200" baseline="0" dirty="0"/>
            <a:t>string</a:t>
          </a:r>
          <a:r>
            <a:rPr lang="en-US" sz="1600" kern="1200" baseline="0" dirty="0"/>
            <a:t>.</a:t>
          </a:r>
          <a:endParaRPr lang="en-US" sz="1600" kern="1200" dirty="0"/>
        </a:p>
        <a:p>
          <a:pPr marL="171450" lvl="1" indent="-171450" algn="l" defTabSz="711200">
            <a:lnSpc>
              <a:spcPct val="90000"/>
            </a:lnSpc>
            <a:spcBef>
              <a:spcPct val="0"/>
            </a:spcBef>
            <a:spcAft>
              <a:spcPct val="15000"/>
            </a:spcAft>
            <a:buChar char="•"/>
          </a:pPr>
          <a:r>
            <a:rPr lang="en-US" sz="1600" kern="1200" baseline="0" dirty="0"/>
            <a:t>Use </a:t>
          </a:r>
          <a:r>
            <a:rPr lang="en-US" sz="1600" b="1" kern="1200" baseline="0" dirty="0" err="1"/>
            <a:t>ApplicationIntent</a:t>
          </a:r>
          <a:r>
            <a:rPr lang="en-US" sz="1600" b="1" kern="1200" baseline="0" dirty="0"/>
            <a:t>=</a:t>
          </a:r>
          <a:r>
            <a:rPr lang="en-US" sz="1600" b="1" kern="1200" baseline="0" dirty="0" err="1"/>
            <a:t>ReadOnly</a:t>
          </a:r>
          <a:r>
            <a:rPr lang="en-US" sz="1600" kern="1200" baseline="0" dirty="0"/>
            <a:t>; to connect to the read-only replica.	</a:t>
          </a:r>
          <a:endParaRPr lang="en-US" sz="1600" kern="1200" dirty="0"/>
        </a:p>
      </dsp:txBody>
      <dsp:txXfrm>
        <a:off x="7562104" y="1053615"/>
        <a:ext cx="3315221" cy="3173220"/>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7723"/>
          <a:ext cx="10880725" cy="10670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solidFill>
                <a:srgbClr val="FFFFFF"/>
              </a:solidFill>
            </a:rPr>
            <a:t>Read Scale-Out feature is available in which Service Tiers?</a:t>
          </a:r>
          <a:endParaRPr lang="en-US" sz="2400" kern="1200" dirty="0"/>
        </a:p>
      </dsp:txBody>
      <dsp:txXfrm>
        <a:off x="52089" y="59812"/>
        <a:ext cx="10776547" cy="962862"/>
      </dsp:txXfrm>
    </dsp:sp>
    <dsp:sp modelId="{032772B6-DE17-406B-BD35-B852F21446DB}">
      <dsp:nvSpPr>
        <dsp:cNvPr id="0" name=""/>
        <dsp:cNvSpPr/>
      </dsp:nvSpPr>
      <dsp:spPr>
        <a:xfrm>
          <a:off x="0" y="1238923"/>
          <a:ext cx="10880725" cy="106704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Font typeface="Arial" panose="020B0604020202020204" pitchFamily="34" charset="0"/>
            <a:buNone/>
          </a:pPr>
          <a:r>
            <a:rPr lang="en-US" sz="2400" kern="1200" dirty="0">
              <a:solidFill>
                <a:srgbClr val="FFFFFF"/>
              </a:solidFill>
            </a:rPr>
            <a:t>How many replicas are enabled to load balance read-only query workloads?</a:t>
          </a:r>
          <a:endParaRPr lang="en-US" sz="2400" kern="1200" dirty="0"/>
        </a:p>
      </dsp:txBody>
      <dsp:txXfrm>
        <a:off x="52089" y="1291012"/>
        <a:ext cx="10776547" cy="962862"/>
      </dsp:txXfrm>
    </dsp:sp>
    <dsp:sp modelId="{BE72819C-846B-4F06-8212-D8C80317CEA8}">
      <dsp:nvSpPr>
        <dsp:cNvPr id="0" name=""/>
        <dsp:cNvSpPr/>
      </dsp:nvSpPr>
      <dsp:spPr>
        <a:xfrm>
          <a:off x="0" y="2470123"/>
          <a:ext cx="10880725" cy="106704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Font typeface="Arial" panose="020B0604020202020204" pitchFamily="34" charset="0"/>
            <a:buNone/>
          </a:pPr>
          <a:r>
            <a:rPr lang="en-US" sz="2400" kern="1200" dirty="0">
              <a:solidFill>
                <a:srgbClr val="FFFFFF"/>
              </a:solidFill>
            </a:rPr>
            <a:t>How do you connect to a </a:t>
          </a:r>
          <a:r>
            <a:rPr lang="en-US" sz="2400" kern="1200" dirty="0"/>
            <a:t>read-only replica?</a:t>
          </a:r>
          <a:r>
            <a:rPr lang="en-US" sz="2400" kern="1200" dirty="0">
              <a:solidFill>
                <a:srgbClr val="FFFFFF"/>
              </a:solidFill>
            </a:rPr>
            <a:t> </a:t>
          </a:r>
          <a:endParaRPr lang="en-US" sz="2400" kern="1200" dirty="0"/>
        </a:p>
      </dsp:txBody>
      <dsp:txXfrm>
        <a:off x="52089" y="2522212"/>
        <a:ext cx="10776547" cy="962862"/>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D19FB4E-CBC8-4361-AE72-496C6AEC991D}">
      <dsp:nvSpPr>
        <dsp:cNvPr id="0" name=""/>
        <dsp:cNvSpPr/>
      </dsp:nvSpPr>
      <dsp:spPr>
        <a:xfrm>
          <a:off x="564355" y="0"/>
          <a:ext cx="5597525" cy="5597525"/>
        </a:xfrm>
        <a:prstGeom prst="diamond">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2714445-7F7D-44E4-ADAE-3695B81A5DAE}">
      <dsp:nvSpPr>
        <dsp:cNvPr id="0" name=""/>
        <dsp:cNvSpPr/>
      </dsp:nvSpPr>
      <dsp:spPr>
        <a:xfrm>
          <a:off x="1096120" y="531764"/>
          <a:ext cx="2183034" cy="2183034"/>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baseline="0" dirty="0"/>
            <a:t>Various Tools to Manage Azure SQL Database</a:t>
          </a:r>
          <a:endParaRPr lang="en-US" sz="2300" kern="1200" dirty="0"/>
        </a:p>
      </dsp:txBody>
      <dsp:txXfrm>
        <a:off x="1202687" y="638331"/>
        <a:ext cx="1969900" cy="1969900"/>
      </dsp:txXfrm>
    </dsp:sp>
    <dsp:sp modelId="{E5D75937-D402-4BC7-8351-C4EFF81AC2C4}">
      <dsp:nvSpPr>
        <dsp:cNvPr id="0" name=""/>
        <dsp:cNvSpPr/>
      </dsp:nvSpPr>
      <dsp:spPr>
        <a:xfrm>
          <a:off x="3447081" y="531764"/>
          <a:ext cx="2183034" cy="2183034"/>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baseline="0" dirty="0"/>
            <a:t>Scaling Azure SQL Databases Up and Down</a:t>
          </a:r>
          <a:endParaRPr lang="en-US" sz="2300" kern="1200" dirty="0"/>
        </a:p>
      </dsp:txBody>
      <dsp:txXfrm>
        <a:off x="3553648" y="638331"/>
        <a:ext cx="1969900" cy="1969900"/>
      </dsp:txXfrm>
    </dsp:sp>
    <dsp:sp modelId="{2251A84C-AA83-4EFE-A8B1-ACF26CD0DF7C}">
      <dsp:nvSpPr>
        <dsp:cNvPr id="0" name=""/>
        <dsp:cNvSpPr/>
      </dsp:nvSpPr>
      <dsp:spPr>
        <a:xfrm>
          <a:off x="1096120" y="2882725"/>
          <a:ext cx="2183034" cy="2183034"/>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baseline="0" dirty="0"/>
            <a:t>Maintenance and Scheduling Jobs in Azure SQL Database</a:t>
          </a:r>
          <a:endParaRPr lang="en-US" sz="2300" kern="1200" dirty="0"/>
        </a:p>
      </dsp:txBody>
      <dsp:txXfrm>
        <a:off x="1202687" y="2989292"/>
        <a:ext cx="1969900" cy="1969900"/>
      </dsp:txXfrm>
    </dsp:sp>
    <dsp:sp modelId="{EDF604F5-5A87-458F-8F31-3BCF4B7739DC}">
      <dsp:nvSpPr>
        <dsp:cNvPr id="0" name=""/>
        <dsp:cNvSpPr/>
      </dsp:nvSpPr>
      <dsp:spPr>
        <a:xfrm>
          <a:off x="3447081" y="2882725"/>
          <a:ext cx="2183034" cy="2183034"/>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baseline="0" dirty="0"/>
            <a:t>Azure SQL Database Read Scale-Out</a:t>
          </a:r>
          <a:endParaRPr lang="en-US" sz="2300" kern="1200" dirty="0"/>
        </a:p>
      </dsp:txBody>
      <dsp:txXfrm>
        <a:off x="3553648" y="2989292"/>
        <a:ext cx="1969900" cy="196990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C2F4D03-82E3-410D-AE1C-F4DC5A02FDB5}">
      <dsp:nvSpPr>
        <dsp:cNvPr id="0" name=""/>
        <dsp:cNvSpPr/>
      </dsp:nvSpPr>
      <dsp:spPr>
        <a:xfrm>
          <a:off x="0" y="55199"/>
          <a:ext cx="4525962" cy="1444949"/>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Download the latest version of Azure Data Studio.</a:t>
          </a:r>
          <a:endParaRPr lang="en-US" sz="2400" kern="1200" dirty="0"/>
        </a:p>
      </dsp:txBody>
      <dsp:txXfrm>
        <a:off x="70537" y="125736"/>
        <a:ext cx="4384888" cy="1303875"/>
      </dsp:txXfrm>
    </dsp:sp>
    <dsp:sp modelId="{DFCEC8D6-C26F-495E-AC5C-9BEB1ECDF769}">
      <dsp:nvSpPr>
        <dsp:cNvPr id="0" name=""/>
        <dsp:cNvSpPr/>
      </dsp:nvSpPr>
      <dsp:spPr>
        <a:xfrm>
          <a:off x="0" y="1687350"/>
          <a:ext cx="4525962" cy="1444949"/>
        </a:xfrm>
        <a:prstGeom prst="roundRect">
          <a:avLst/>
        </a:prstGeom>
        <a:solidFill>
          <a:schemeClr val="accent2">
            <a:hueOff val="-6031536"/>
            <a:satOff val="27236"/>
            <a:lumOff val="852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Get the fully qualified domain name of your Azure SQL Server.</a:t>
          </a:r>
          <a:endParaRPr lang="en-US" sz="2400" kern="1200" dirty="0"/>
        </a:p>
      </dsp:txBody>
      <dsp:txXfrm>
        <a:off x="70537" y="1757887"/>
        <a:ext cx="4384888" cy="1303875"/>
      </dsp:txXfrm>
    </dsp:sp>
    <dsp:sp modelId="{B568A779-12BD-47BB-993A-F152A78BC6D6}">
      <dsp:nvSpPr>
        <dsp:cNvPr id="0" name=""/>
        <dsp:cNvSpPr/>
      </dsp:nvSpPr>
      <dsp:spPr>
        <a:xfrm>
          <a:off x="0" y="3319500"/>
          <a:ext cx="4525962" cy="1444949"/>
        </a:xfrm>
        <a:prstGeom prst="roundRect">
          <a:avLst/>
        </a:prstGeom>
        <a:solidFill>
          <a:schemeClr val="accent2">
            <a:hueOff val="-12063073"/>
            <a:satOff val="54471"/>
            <a:lumOff val="1705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Connect to your SQL Database.</a:t>
          </a:r>
          <a:endParaRPr lang="en-US" sz="2400" kern="1200" dirty="0"/>
        </a:p>
      </dsp:txBody>
      <dsp:txXfrm>
        <a:off x="70537" y="3390037"/>
        <a:ext cx="4384888" cy="130387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F474B1-434B-4920-B640-F49C92249B3A}">
      <dsp:nvSpPr>
        <dsp:cNvPr id="0" name=""/>
        <dsp:cNvSpPr/>
      </dsp:nvSpPr>
      <dsp:spPr>
        <a:xfrm>
          <a:off x="0" y="3162"/>
          <a:ext cx="5284787" cy="50827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baseline="0" dirty="0"/>
            <a:t>PowerShell</a:t>
          </a:r>
          <a:endParaRPr lang="en-US" sz="2000" kern="1200" dirty="0"/>
        </a:p>
      </dsp:txBody>
      <dsp:txXfrm>
        <a:off x="24812" y="27974"/>
        <a:ext cx="5235163" cy="458646"/>
      </dsp:txXfrm>
    </dsp:sp>
    <dsp:sp modelId="{7D83BECA-C0F5-44B9-996A-8DC5D6F24817}">
      <dsp:nvSpPr>
        <dsp:cNvPr id="0" name=""/>
        <dsp:cNvSpPr/>
      </dsp:nvSpPr>
      <dsp:spPr>
        <a:xfrm>
          <a:off x="0" y="511432"/>
          <a:ext cx="5284787" cy="31064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7792" tIns="15240" rIns="85344" bIns="15240" numCol="1" spcCol="1270" anchor="t" anchorCtr="0">
          <a:noAutofit/>
        </a:bodyPr>
        <a:lstStyle/>
        <a:p>
          <a:pPr marL="114300" lvl="1" indent="-114300" algn="l" defTabSz="533400">
            <a:lnSpc>
              <a:spcPct val="90000"/>
            </a:lnSpc>
            <a:spcBef>
              <a:spcPct val="0"/>
            </a:spcBef>
            <a:spcAft>
              <a:spcPct val="20000"/>
            </a:spcAft>
            <a:buChar char="•"/>
          </a:pPr>
          <a:r>
            <a:rPr lang="en-US" sz="1200" kern="1200" baseline="0" dirty="0"/>
            <a:t>New-</a:t>
          </a:r>
          <a:r>
            <a:rPr lang="en-US" sz="1200" kern="1200" baseline="0" dirty="0" err="1"/>
            <a:t>AzSqlDatabase</a:t>
          </a:r>
          <a:endParaRPr lang="en-US" sz="1200" kern="1200" dirty="0"/>
        </a:p>
        <a:p>
          <a:pPr marL="114300" lvl="1" indent="-114300" algn="l" defTabSz="533400">
            <a:lnSpc>
              <a:spcPct val="90000"/>
            </a:lnSpc>
            <a:spcBef>
              <a:spcPct val="0"/>
            </a:spcBef>
            <a:spcAft>
              <a:spcPct val="20000"/>
            </a:spcAft>
            <a:buChar char="•"/>
          </a:pPr>
          <a:r>
            <a:rPr lang="en-US" sz="1200" kern="1200" baseline="0" dirty="0"/>
            <a:t>Get-</a:t>
          </a:r>
          <a:r>
            <a:rPr lang="en-US" sz="1200" kern="1200" baseline="0" dirty="0" err="1"/>
            <a:t>AzSqlDatabase</a:t>
          </a:r>
          <a:endParaRPr lang="en-US" sz="1200" kern="1200" dirty="0"/>
        </a:p>
        <a:p>
          <a:pPr marL="114300" lvl="1" indent="-114300" algn="l" defTabSz="533400">
            <a:lnSpc>
              <a:spcPct val="90000"/>
            </a:lnSpc>
            <a:spcBef>
              <a:spcPct val="0"/>
            </a:spcBef>
            <a:spcAft>
              <a:spcPct val="20000"/>
            </a:spcAft>
            <a:buChar char="•"/>
          </a:pPr>
          <a:r>
            <a:rPr lang="en-US" sz="1200" kern="1200" baseline="0" dirty="0"/>
            <a:t>Set-</a:t>
          </a:r>
          <a:r>
            <a:rPr lang="en-US" sz="1200" kern="1200" baseline="0" dirty="0" err="1"/>
            <a:t>AzSqlDatabase</a:t>
          </a:r>
          <a:endParaRPr lang="en-US" sz="1200" kern="1200" dirty="0"/>
        </a:p>
        <a:p>
          <a:pPr marL="114300" lvl="1" indent="-114300" algn="l" defTabSz="533400">
            <a:lnSpc>
              <a:spcPct val="90000"/>
            </a:lnSpc>
            <a:spcBef>
              <a:spcPct val="0"/>
            </a:spcBef>
            <a:spcAft>
              <a:spcPct val="20000"/>
            </a:spcAft>
            <a:buChar char="•"/>
          </a:pPr>
          <a:r>
            <a:rPr lang="en-US" sz="1200" kern="1200" baseline="0"/>
            <a:t>Remove-AzSqlDatabase</a:t>
          </a:r>
          <a:endParaRPr lang="en-US" sz="1200" kern="1200"/>
        </a:p>
        <a:p>
          <a:pPr marL="114300" lvl="1" indent="-114300" algn="l" defTabSz="533400">
            <a:lnSpc>
              <a:spcPct val="90000"/>
            </a:lnSpc>
            <a:spcBef>
              <a:spcPct val="0"/>
            </a:spcBef>
            <a:spcAft>
              <a:spcPct val="20000"/>
            </a:spcAft>
            <a:buChar char="•"/>
          </a:pPr>
          <a:r>
            <a:rPr lang="en-US" sz="1200" kern="1200" baseline="0" dirty="0"/>
            <a:t>New-</a:t>
          </a:r>
          <a:r>
            <a:rPr lang="en-US" sz="1200" kern="1200" baseline="0" dirty="0" err="1"/>
            <a:t>AzResourceGroup</a:t>
          </a:r>
          <a:endParaRPr lang="en-US" sz="1200" kern="1200" dirty="0"/>
        </a:p>
        <a:p>
          <a:pPr marL="114300" lvl="1" indent="-114300" algn="l" defTabSz="533400">
            <a:lnSpc>
              <a:spcPct val="90000"/>
            </a:lnSpc>
            <a:spcBef>
              <a:spcPct val="0"/>
            </a:spcBef>
            <a:spcAft>
              <a:spcPct val="20000"/>
            </a:spcAft>
            <a:buChar char="•"/>
          </a:pPr>
          <a:r>
            <a:rPr lang="en-US" sz="1200" kern="1200" baseline="0" dirty="0"/>
            <a:t>New-</a:t>
          </a:r>
          <a:r>
            <a:rPr lang="en-US" sz="1200" kern="1200" baseline="0" dirty="0" err="1"/>
            <a:t>AzSqlServer</a:t>
          </a:r>
          <a:endParaRPr lang="en-US" sz="1200" kern="1200" dirty="0"/>
        </a:p>
        <a:p>
          <a:pPr marL="114300" lvl="1" indent="-114300" algn="l" defTabSz="533400">
            <a:lnSpc>
              <a:spcPct val="90000"/>
            </a:lnSpc>
            <a:spcBef>
              <a:spcPct val="0"/>
            </a:spcBef>
            <a:spcAft>
              <a:spcPct val="20000"/>
            </a:spcAft>
            <a:buChar char="•"/>
          </a:pPr>
          <a:r>
            <a:rPr lang="en-US" sz="1200" kern="1200" baseline="0" dirty="0"/>
            <a:t>Get-</a:t>
          </a:r>
          <a:r>
            <a:rPr lang="en-US" sz="1200" kern="1200" baseline="0" dirty="0" err="1"/>
            <a:t>AzSqlServer</a:t>
          </a:r>
          <a:endParaRPr lang="en-US" sz="1200" kern="1200" dirty="0"/>
        </a:p>
        <a:p>
          <a:pPr marL="114300" lvl="1" indent="-114300" algn="l" defTabSz="533400">
            <a:lnSpc>
              <a:spcPct val="90000"/>
            </a:lnSpc>
            <a:spcBef>
              <a:spcPct val="0"/>
            </a:spcBef>
            <a:spcAft>
              <a:spcPct val="20000"/>
            </a:spcAft>
            <a:buChar char="•"/>
          </a:pPr>
          <a:r>
            <a:rPr lang="en-US" sz="1200" kern="1200" baseline="0" dirty="0"/>
            <a:t>Set-</a:t>
          </a:r>
          <a:r>
            <a:rPr lang="en-US" sz="1200" kern="1200" baseline="0" dirty="0" err="1"/>
            <a:t>AzSqlServer</a:t>
          </a:r>
          <a:endParaRPr lang="en-US" sz="1200" kern="1200" dirty="0"/>
        </a:p>
        <a:p>
          <a:pPr marL="114300" lvl="1" indent="-114300" algn="l" defTabSz="533400">
            <a:lnSpc>
              <a:spcPct val="90000"/>
            </a:lnSpc>
            <a:spcBef>
              <a:spcPct val="0"/>
            </a:spcBef>
            <a:spcAft>
              <a:spcPct val="20000"/>
            </a:spcAft>
            <a:buChar char="•"/>
          </a:pPr>
          <a:r>
            <a:rPr lang="en-US" sz="1200" kern="1200" baseline="0" dirty="0"/>
            <a:t>Remove-</a:t>
          </a:r>
          <a:r>
            <a:rPr lang="en-US" sz="1200" kern="1200" baseline="0" dirty="0" err="1"/>
            <a:t>AzSqlServer</a:t>
          </a:r>
          <a:endParaRPr lang="en-US" sz="1200" kern="1200" dirty="0"/>
        </a:p>
        <a:p>
          <a:pPr marL="114300" lvl="1" indent="-114300" algn="l" defTabSz="533400">
            <a:lnSpc>
              <a:spcPct val="90000"/>
            </a:lnSpc>
            <a:spcBef>
              <a:spcPct val="0"/>
            </a:spcBef>
            <a:spcAft>
              <a:spcPct val="20000"/>
            </a:spcAft>
            <a:buChar char="•"/>
          </a:pPr>
          <a:r>
            <a:rPr lang="en-US" sz="1200" kern="1200" baseline="0" dirty="0"/>
            <a:t>New-</a:t>
          </a:r>
          <a:r>
            <a:rPr lang="en-US" sz="1200" kern="1200" baseline="0" dirty="0" err="1"/>
            <a:t>AzSqlServerFirewallRule</a:t>
          </a:r>
          <a:endParaRPr lang="en-US" sz="1200" kern="1200" dirty="0"/>
        </a:p>
        <a:p>
          <a:pPr marL="114300" lvl="1" indent="-114300" algn="l" defTabSz="533400">
            <a:lnSpc>
              <a:spcPct val="90000"/>
            </a:lnSpc>
            <a:spcBef>
              <a:spcPct val="0"/>
            </a:spcBef>
            <a:spcAft>
              <a:spcPct val="20000"/>
            </a:spcAft>
            <a:buChar char="•"/>
          </a:pPr>
          <a:r>
            <a:rPr lang="en-US" sz="1200" kern="1200" baseline="0" dirty="0"/>
            <a:t>Get-</a:t>
          </a:r>
          <a:r>
            <a:rPr lang="en-US" sz="1200" kern="1200" baseline="0" dirty="0" err="1"/>
            <a:t>AzSqlServerFirewallRule</a:t>
          </a:r>
          <a:endParaRPr lang="en-US" sz="1200" kern="1200" dirty="0"/>
        </a:p>
        <a:p>
          <a:pPr marL="114300" lvl="1" indent="-114300" algn="l" defTabSz="533400">
            <a:lnSpc>
              <a:spcPct val="90000"/>
            </a:lnSpc>
            <a:spcBef>
              <a:spcPct val="0"/>
            </a:spcBef>
            <a:spcAft>
              <a:spcPct val="20000"/>
            </a:spcAft>
            <a:buChar char="•"/>
          </a:pPr>
          <a:r>
            <a:rPr lang="en-US" sz="1200" kern="1200" baseline="0" dirty="0"/>
            <a:t>Set-</a:t>
          </a:r>
          <a:r>
            <a:rPr lang="en-US" sz="1200" kern="1200" baseline="0" dirty="0" err="1"/>
            <a:t>AzSqlServerFirewallRule</a:t>
          </a:r>
          <a:endParaRPr lang="en-US" sz="1200" kern="1200" dirty="0"/>
        </a:p>
        <a:p>
          <a:pPr marL="114300" lvl="1" indent="-114300" algn="l" defTabSz="533400">
            <a:lnSpc>
              <a:spcPct val="90000"/>
            </a:lnSpc>
            <a:spcBef>
              <a:spcPct val="0"/>
            </a:spcBef>
            <a:spcAft>
              <a:spcPct val="20000"/>
            </a:spcAft>
            <a:buChar char="•"/>
          </a:pPr>
          <a:r>
            <a:rPr lang="en-US" sz="1200" kern="1200" baseline="0" dirty="0"/>
            <a:t>Remove-</a:t>
          </a:r>
          <a:r>
            <a:rPr lang="en-US" sz="1200" kern="1200" baseline="0" dirty="0" err="1"/>
            <a:t>AzSqlServerFirewallRule</a:t>
          </a:r>
          <a:endParaRPr lang="en-US" sz="1200" kern="1200" dirty="0"/>
        </a:p>
        <a:p>
          <a:pPr marL="114300" lvl="1" indent="-114300" algn="l" defTabSz="533400">
            <a:lnSpc>
              <a:spcPct val="90000"/>
            </a:lnSpc>
            <a:spcBef>
              <a:spcPct val="0"/>
            </a:spcBef>
            <a:spcAft>
              <a:spcPct val="20000"/>
            </a:spcAft>
            <a:buChar char="•"/>
          </a:pPr>
          <a:r>
            <a:rPr lang="en-US" sz="1200" kern="1200" baseline="0" dirty="0"/>
            <a:t>New-</a:t>
          </a:r>
          <a:r>
            <a:rPr lang="en-US" sz="1200" kern="1200" baseline="0" dirty="0" err="1"/>
            <a:t>AzSqlServerVirtualNetworkRule</a:t>
          </a:r>
          <a:endParaRPr lang="en-US" sz="1200" kern="1200" dirty="0"/>
        </a:p>
      </dsp:txBody>
      <dsp:txXfrm>
        <a:off x="0" y="511432"/>
        <a:ext cx="5284787" cy="310649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C1DC57E-FF9F-4181-83A0-E5004378376C}">
      <dsp:nvSpPr>
        <dsp:cNvPr id="0" name=""/>
        <dsp:cNvSpPr/>
      </dsp:nvSpPr>
      <dsp:spPr>
        <a:xfrm>
          <a:off x="0" y="1978"/>
          <a:ext cx="5284785" cy="514297"/>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baseline="0" dirty="0"/>
            <a:t>Azure CLI</a:t>
          </a:r>
          <a:endParaRPr lang="en-US" sz="2000" kern="1200" dirty="0"/>
        </a:p>
      </dsp:txBody>
      <dsp:txXfrm>
        <a:off x="25106" y="27084"/>
        <a:ext cx="5234573" cy="464085"/>
      </dsp:txXfrm>
    </dsp:sp>
    <dsp:sp modelId="{80D51029-A43E-49DC-8826-7BCDA0A5C46E}">
      <dsp:nvSpPr>
        <dsp:cNvPr id="0" name=""/>
        <dsp:cNvSpPr/>
      </dsp:nvSpPr>
      <dsp:spPr>
        <a:xfrm>
          <a:off x="0" y="516275"/>
          <a:ext cx="5284785" cy="43013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7792" tIns="15240" rIns="85344" bIns="15240" numCol="1" spcCol="1270" anchor="t" anchorCtr="0">
          <a:noAutofit/>
        </a:bodyPr>
        <a:lstStyle/>
        <a:p>
          <a:pPr marL="114300" lvl="1" indent="-114300" algn="l" defTabSz="533400">
            <a:lnSpc>
              <a:spcPct val="90000"/>
            </a:lnSpc>
            <a:spcBef>
              <a:spcPct val="0"/>
            </a:spcBef>
            <a:spcAft>
              <a:spcPct val="20000"/>
            </a:spcAft>
            <a:buChar char="•"/>
          </a:pPr>
          <a:r>
            <a:rPr lang="en-US" sz="1200" kern="1200" baseline="0" dirty="0" err="1"/>
            <a:t>az</a:t>
          </a:r>
          <a:r>
            <a:rPr lang="en-US" sz="1200" kern="1200" baseline="0" dirty="0"/>
            <a:t> </a:t>
          </a:r>
          <a:r>
            <a:rPr lang="en-US" sz="1200" kern="1200" baseline="0" dirty="0" err="1"/>
            <a:t>sql</a:t>
          </a:r>
          <a:r>
            <a:rPr lang="en-US" sz="1200" kern="1200" baseline="0" dirty="0"/>
            <a:t> </a:t>
          </a:r>
          <a:r>
            <a:rPr lang="en-US" sz="1200" kern="1200" baseline="0" dirty="0" err="1"/>
            <a:t>db</a:t>
          </a:r>
          <a:r>
            <a:rPr lang="en-US" sz="1200" kern="1200" baseline="0" dirty="0"/>
            <a:t> create</a:t>
          </a:r>
          <a:endParaRPr lang="en-US" sz="1200" kern="1200" dirty="0"/>
        </a:p>
        <a:p>
          <a:pPr marL="114300" lvl="1" indent="-114300" algn="l" defTabSz="533400">
            <a:lnSpc>
              <a:spcPct val="90000"/>
            </a:lnSpc>
            <a:spcBef>
              <a:spcPct val="0"/>
            </a:spcBef>
            <a:spcAft>
              <a:spcPct val="20000"/>
            </a:spcAft>
            <a:buChar char="•"/>
          </a:pPr>
          <a:r>
            <a:rPr lang="en-US" sz="1200" kern="1200" baseline="0" dirty="0" err="1"/>
            <a:t>az</a:t>
          </a:r>
          <a:r>
            <a:rPr lang="en-US" sz="1200" kern="1200" baseline="0" dirty="0"/>
            <a:t> </a:t>
          </a:r>
          <a:r>
            <a:rPr lang="en-US" sz="1200" kern="1200" baseline="0" dirty="0" err="1"/>
            <a:t>sql</a:t>
          </a:r>
          <a:r>
            <a:rPr lang="en-US" sz="1200" kern="1200" baseline="0" dirty="0"/>
            <a:t> </a:t>
          </a:r>
          <a:r>
            <a:rPr lang="en-US" sz="1200" kern="1200" baseline="0" dirty="0" err="1"/>
            <a:t>db</a:t>
          </a:r>
          <a:r>
            <a:rPr lang="en-US" sz="1200" kern="1200" baseline="0" dirty="0"/>
            <a:t> list</a:t>
          </a:r>
          <a:endParaRPr lang="en-US" sz="1200" kern="1200" dirty="0"/>
        </a:p>
        <a:p>
          <a:pPr marL="114300" lvl="1" indent="-114300" algn="l" defTabSz="533400">
            <a:lnSpc>
              <a:spcPct val="90000"/>
            </a:lnSpc>
            <a:spcBef>
              <a:spcPct val="0"/>
            </a:spcBef>
            <a:spcAft>
              <a:spcPct val="20000"/>
            </a:spcAft>
            <a:buChar char="•"/>
          </a:pPr>
          <a:r>
            <a:rPr lang="en-US" sz="1200" kern="1200" baseline="0" dirty="0" err="1"/>
            <a:t>az</a:t>
          </a:r>
          <a:r>
            <a:rPr lang="en-US" sz="1200" kern="1200" baseline="0" dirty="0"/>
            <a:t> </a:t>
          </a:r>
          <a:r>
            <a:rPr lang="en-US" sz="1200" kern="1200" baseline="0" dirty="0" err="1"/>
            <a:t>sql</a:t>
          </a:r>
          <a:r>
            <a:rPr lang="en-US" sz="1200" kern="1200" baseline="0" dirty="0"/>
            <a:t> </a:t>
          </a:r>
          <a:r>
            <a:rPr lang="en-US" sz="1200" kern="1200" baseline="0" dirty="0" err="1"/>
            <a:t>db</a:t>
          </a:r>
          <a:r>
            <a:rPr lang="en-US" sz="1200" kern="1200" baseline="0" dirty="0"/>
            <a:t> list-editions</a:t>
          </a:r>
          <a:endParaRPr lang="en-US" sz="1200" kern="1200" dirty="0"/>
        </a:p>
        <a:p>
          <a:pPr marL="114300" lvl="1" indent="-114300" algn="l" defTabSz="533400">
            <a:lnSpc>
              <a:spcPct val="90000"/>
            </a:lnSpc>
            <a:spcBef>
              <a:spcPct val="0"/>
            </a:spcBef>
            <a:spcAft>
              <a:spcPct val="20000"/>
            </a:spcAft>
            <a:buChar char="•"/>
          </a:pPr>
          <a:r>
            <a:rPr lang="en-US" sz="1200" kern="1200" baseline="0" dirty="0" err="1"/>
            <a:t>az</a:t>
          </a:r>
          <a:r>
            <a:rPr lang="en-US" sz="1200" kern="1200" baseline="0" dirty="0"/>
            <a:t> </a:t>
          </a:r>
          <a:r>
            <a:rPr lang="en-US" sz="1200" kern="1200" baseline="0" dirty="0" err="1"/>
            <a:t>sql</a:t>
          </a:r>
          <a:r>
            <a:rPr lang="en-US" sz="1200" kern="1200" baseline="0" dirty="0"/>
            <a:t> </a:t>
          </a:r>
          <a:r>
            <a:rPr lang="en-US" sz="1200" kern="1200" baseline="0" dirty="0" err="1"/>
            <a:t>db</a:t>
          </a:r>
          <a:r>
            <a:rPr lang="en-US" sz="1200" kern="1200" baseline="0" dirty="0"/>
            <a:t> list-usages</a:t>
          </a:r>
          <a:endParaRPr lang="en-US" sz="1200" kern="1200" dirty="0"/>
        </a:p>
        <a:p>
          <a:pPr marL="114300" lvl="1" indent="-114300" algn="l" defTabSz="533400">
            <a:lnSpc>
              <a:spcPct val="90000"/>
            </a:lnSpc>
            <a:spcBef>
              <a:spcPct val="0"/>
            </a:spcBef>
            <a:spcAft>
              <a:spcPct val="20000"/>
            </a:spcAft>
            <a:buChar char="•"/>
          </a:pPr>
          <a:r>
            <a:rPr lang="en-US" sz="1200" kern="1200" baseline="0" dirty="0" err="1"/>
            <a:t>az</a:t>
          </a:r>
          <a:r>
            <a:rPr lang="en-US" sz="1200" kern="1200" baseline="0" dirty="0"/>
            <a:t> </a:t>
          </a:r>
          <a:r>
            <a:rPr lang="en-US" sz="1200" kern="1200" baseline="0" dirty="0" err="1"/>
            <a:t>sql</a:t>
          </a:r>
          <a:r>
            <a:rPr lang="en-US" sz="1200" kern="1200" baseline="0" dirty="0"/>
            <a:t> </a:t>
          </a:r>
          <a:r>
            <a:rPr lang="en-US" sz="1200" kern="1200" baseline="0" dirty="0" err="1"/>
            <a:t>db</a:t>
          </a:r>
          <a:r>
            <a:rPr lang="en-US" sz="1200" kern="1200" baseline="0" dirty="0"/>
            <a:t> show</a:t>
          </a:r>
          <a:endParaRPr lang="en-US" sz="1200" kern="1200" dirty="0"/>
        </a:p>
        <a:p>
          <a:pPr marL="114300" lvl="1" indent="-114300" algn="l" defTabSz="533400">
            <a:lnSpc>
              <a:spcPct val="90000"/>
            </a:lnSpc>
            <a:spcBef>
              <a:spcPct val="0"/>
            </a:spcBef>
            <a:spcAft>
              <a:spcPct val="20000"/>
            </a:spcAft>
            <a:buChar char="•"/>
          </a:pPr>
          <a:r>
            <a:rPr lang="en-US" sz="1200" kern="1200" baseline="0" dirty="0" err="1"/>
            <a:t>az</a:t>
          </a:r>
          <a:r>
            <a:rPr lang="en-US" sz="1200" kern="1200" baseline="0" dirty="0"/>
            <a:t> </a:t>
          </a:r>
          <a:r>
            <a:rPr lang="en-US" sz="1200" kern="1200" baseline="0" dirty="0" err="1"/>
            <a:t>sql</a:t>
          </a:r>
          <a:r>
            <a:rPr lang="en-US" sz="1200" kern="1200" baseline="0" dirty="0"/>
            <a:t> </a:t>
          </a:r>
          <a:r>
            <a:rPr lang="en-US" sz="1200" kern="1200" baseline="0" dirty="0" err="1"/>
            <a:t>db</a:t>
          </a:r>
          <a:r>
            <a:rPr lang="en-US" sz="1200" kern="1200" baseline="0" dirty="0"/>
            <a:t> update</a:t>
          </a:r>
          <a:endParaRPr lang="en-US" sz="1200" kern="1200" dirty="0"/>
        </a:p>
        <a:p>
          <a:pPr marL="114300" lvl="1" indent="-114300" algn="l" defTabSz="533400">
            <a:lnSpc>
              <a:spcPct val="90000"/>
            </a:lnSpc>
            <a:spcBef>
              <a:spcPct val="0"/>
            </a:spcBef>
            <a:spcAft>
              <a:spcPct val="20000"/>
            </a:spcAft>
            <a:buChar char="•"/>
          </a:pPr>
          <a:r>
            <a:rPr lang="en-US" sz="1200" kern="1200" baseline="0" dirty="0" err="1"/>
            <a:t>az</a:t>
          </a:r>
          <a:r>
            <a:rPr lang="en-US" sz="1200" kern="1200" baseline="0" dirty="0"/>
            <a:t> </a:t>
          </a:r>
          <a:r>
            <a:rPr lang="en-US" sz="1200" kern="1200" baseline="0" dirty="0" err="1"/>
            <a:t>sql</a:t>
          </a:r>
          <a:r>
            <a:rPr lang="en-US" sz="1200" kern="1200" baseline="0" dirty="0"/>
            <a:t> </a:t>
          </a:r>
          <a:r>
            <a:rPr lang="en-US" sz="1200" kern="1200" baseline="0" dirty="0" err="1"/>
            <a:t>db</a:t>
          </a:r>
          <a:r>
            <a:rPr lang="en-US" sz="1200" kern="1200" baseline="0" dirty="0"/>
            <a:t> delete</a:t>
          </a:r>
          <a:endParaRPr lang="en-US" sz="1200" kern="1200" dirty="0"/>
        </a:p>
        <a:p>
          <a:pPr marL="114300" lvl="1" indent="-114300" algn="l" defTabSz="533400">
            <a:lnSpc>
              <a:spcPct val="90000"/>
            </a:lnSpc>
            <a:spcBef>
              <a:spcPct val="0"/>
            </a:spcBef>
            <a:spcAft>
              <a:spcPct val="20000"/>
            </a:spcAft>
            <a:buChar char="•"/>
          </a:pPr>
          <a:r>
            <a:rPr lang="en-US" sz="1200" kern="1200" baseline="0"/>
            <a:t>az group create</a:t>
          </a:r>
          <a:endParaRPr lang="en-US" sz="1200" kern="1200"/>
        </a:p>
        <a:p>
          <a:pPr marL="114300" lvl="1" indent="-114300" algn="l" defTabSz="533400">
            <a:lnSpc>
              <a:spcPct val="90000"/>
            </a:lnSpc>
            <a:spcBef>
              <a:spcPct val="0"/>
            </a:spcBef>
            <a:spcAft>
              <a:spcPct val="20000"/>
            </a:spcAft>
            <a:buChar char="•"/>
          </a:pPr>
          <a:r>
            <a:rPr lang="en-US" sz="1200" kern="1200" baseline="0" dirty="0" err="1"/>
            <a:t>az</a:t>
          </a:r>
          <a:r>
            <a:rPr lang="en-US" sz="1200" kern="1200" baseline="0" dirty="0"/>
            <a:t> </a:t>
          </a:r>
          <a:r>
            <a:rPr lang="en-US" sz="1200" kern="1200" baseline="0" dirty="0" err="1"/>
            <a:t>sql</a:t>
          </a:r>
          <a:r>
            <a:rPr lang="en-US" sz="1200" kern="1200" baseline="0" dirty="0"/>
            <a:t> server create</a:t>
          </a:r>
          <a:endParaRPr lang="en-US" sz="1200" kern="1200" dirty="0"/>
        </a:p>
        <a:p>
          <a:pPr marL="114300" lvl="1" indent="-114300" algn="l" defTabSz="533400">
            <a:lnSpc>
              <a:spcPct val="90000"/>
            </a:lnSpc>
            <a:spcBef>
              <a:spcPct val="0"/>
            </a:spcBef>
            <a:spcAft>
              <a:spcPct val="20000"/>
            </a:spcAft>
            <a:buChar char="•"/>
          </a:pPr>
          <a:r>
            <a:rPr lang="en-US" sz="1200" kern="1200" baseline="0"/>
            <a:t>az sql server list</a:t>
          </a:r>
          <a:endParaRPr lang="en-US" sz="1200" kern="1200"/>
        </a:p>
        <a:p>
          <a:pPr marL="114300" lvl="1" indent="-114300" algn="l" defTabSz="533400">
            <a:lnSpc>
              <a:spcPct val="90000"/>
            </a:lnSpc>
            <a:spcBef>
              <a:spcPct val="0"/>
            </a:spcBef>
            <a:spcAft>
              <a:spcPct val="20000"/>
            </a:spcAft>
            <a:buChar char="•"/>
          </a:pPr>
          <a:r>
            <a:rPr lang="en-US" sz="1200" kern="1200" baseline="0" dirty="0" err="1"/>
            <a:t>az</a:t>
          </a:r>
          <a:r>
            <a:rPr lang="en-US" sz="1200" kern="1200" baseline="0" dirty="0"/>
            <a:t> </a:t>
          </a:r>
          <a:r>
            <a:rPr lang="en-US" sz="1200" kern="1200" baseline="0" dirty="0" err="1"/>
            <a:t>sql</a:t>
          </a:r>
          <a:r>
            <a:rPr lang="en-US" sz="1200" kern="1200" baseline="0" dirty="0"/>
            <a:t> server list-usages</a:t>
          </a:r>
          <a:endParaRPr lang="en-US" sz="1200" kern="1200" dirty="0"/>
        </a:p>
        <a:p>
          <a:pPr marL="114300" lvl="1" indent="-114300" algn="l" defTabSz="533400">
            <a:lnSpc>
              <a:spcPct val="90000"/>
            </a:lnSpc>
            <a:spcBef>
              <a:spcPct val="0"/>
            </a:spcBef>
            <a:spcAft>
              <a:spcPct val="20000"/>
            </a:spcAft>
            <a:buChar char="•"/>
          </a:pPr>
          <a:r>
            <a:rPr lang="en-US" sz="1200" kern="1200" baseline="0"/>
            <a:t>az sql server show</a:t>
          </a:r>
          <a:endParaRPr lang="en-US" sz="1200" kern="1200"/>
        </a:p>
        <a:p>
          <a:pPr marL="114300" lvl="1" indent="-114300" algn="l" defTabSz="533400">
            <a:lnSpc>
              <a:spcPct val="90000"/>
            </a:lnSpc>
            <a:spcBef>
              <a:spcPct val="0"/>
            </a:spcBef>
            <a:spcAft>
              <a:spcPct val="20000"/>
            </a:spcAft>
            <a:buChar char="•"/>
          </a:pPr>
          <a:r>
            <a:rPr lang="en-US" sz="1200" kern="1200" baseline="0" dirty="0" err="1"/>
            <a:t>az</a:t>
          </a:r>
          <a:r>
            <a:rPr lang="en-US" sz="1200" kern="1200" baseline="0" dirty="0"/>
            <a:t> </a:t>
          </a:r>
          <a:r>
            <a:rPr lang="en-US" sz="1200" kern="1200" baseline="0" dirty="0" err="1"/>
            <a:t>sql</a:t>
          </a:r>
          <a:r>
            <a:rPr lang="en-US" sz="1200" kern="1200" baseline="0" dirty="0"/>
            <a:t> server update</a:t>
          </a:r>
          <a:endParaRPr lang="en-US" sz="1200" kern="1200" dirty="0"/>
        </a:p>
        <a:p>
          <a:pPr marL="114300" lvl="1" indent="-114300" algn="l" defTabSz="533400">
            <a:lnSpc>
              <a:spcPct val="90000"/>
            </a:lnSpc>
            <a:spcBef>
              <a:spcPct val="0"/>
            </a:spcBef>
            <a:spcAft>
              <a:spcPct val="20000"/>
            </a:spcAft>
            <a:buChar char="•"/>
          </a:pPr>
          <a:r>
            <a:rPr lang="en-US" sz="1200" kern="1200" baseline="0" dirty="0" err="1"/>
            <a:t>az</a:t>
          </a:r>
          <a:r>
            <a:rPr lang="en-US" sz="1200" kern="1200" baseline="0" dirty="0"/>
            <a:t> </a:t>
          </a:r>
          <a:r>
            <a:rPr lang="en-US" sz="1200" kern="1200" baseline="0" dirty="0" err="1"/>
            <a:t>sql</a:t>
          </a:r>
          <a:r>
            <a:rPr lang="en-US" sz="1200" kern="1200" baseline="0" dirty="0"/>
            <a:t> server delete</a:t>
          </a:r>
          <a:endParaRPr lang="en-US" sz="1200" kern="1200" dirty="0"/>
        </a:p>
        <a:p>
          <a:pPr marL="114300" lvl="1" indent="-114300" algn="l" defTabSz="533400">
            <a:lnSpc>
              <a:spcPct val="90000"/>
            </a:lnSpc>
            <a:spcBef>
              <a:spcPct val="0"/>
            </a:spcBef>
            <a:spcAft>
              <a:spcPct val="20000"/>
            </a:spcAft>
            <a:buChar char="•"/>
          </a:pPr>
          <a:r>
            <a:rPr lang="en-US" sz="1200" kern="1200" baseline="0" dirty="0" err="1"/>
            <a:t>az</a:t>
          </a:r>
          <a:r>
            <a:rPr lang="en-US" sz="1200" kern="1200" baseline="0" dirty="0"/>
            <a:t> </a:t>
          </a:r>
          <a:r>
            <a:rPr lang="en-US" sz="1200" kern="1200" baseline="0" dirty="0" err="1"/>
            <a:t>sql</a:t>
          </a:r>
          <a:r>
            <a:rPr lang="en-US" sz="1200" kern="1200" baseline="0" dirty="0"/>
            <a:t> server firewall-rule create</a:t>
          </a:r>
          <a:endParaRPr lang="en-US" sz="1200" kern="1200" dirty="0"/>
        </a:p>
        <a:p>
          <a:pPr marL="114300" lvl="1" indent="-114300" algn="l" defTabSz="533400">
            <a:lnSpc>
              <a:spcPct val="90000"/>
            </a:lnSpc>
            <a:spcBef>
              <a:spcPct val="0"/>
            </a:spcBef>
            <a:spcAft>
              <a:spcPct val="20000"/>
            </a:spcAft>
            <a:buChar char="•"/>
          </a:pPr>
          <a:r>
            <a:rPr lang="en-US" sz="1200" kern="1200" baseline="0" dirty="0" err="1"/>
            <a:t>az</a:t>
          </a:r>
          <a:r>
            <a:rPr lang="en-US" sz="1200" kern="1200" baseline="0" dirty="0"/>
            <a:t> </a:t>
          </a:r>
          <a:r>
            <a:rPr lang="en-US" sz="1200" kern="1200" baseline="0" dirty="0" err="1"/>
            <a:t>sql</a:t>
          </a:r>
          <a:r>
            <a:rPr lang="en-US" sz="1200" kern="1200" baseline="0" dirty="0"/>
            <a:t> server firewall-rule list</a:t>
          </a:r>
          <a:endParaRPr lang="en-US" sz="1200" kern="1200" dirty="0"/>
        </a:p>
        <a:p>
          <a:pPr marL="114300" lvl="1" indent="-114300" algn="l" defTabSz="533400">
            <a:lnSpc>
              <a:spcPct val="90000"/>
            </a:lnSpc>
            <a:spcBef>
              <a:spcPct val="0"/>
            </a:spcBef>
            <a:spcAft>
              <a:spcPct val="20000"/>
            </a:spcAft>
            <a:buChar char="•"/>
          </a:pPr>
          <a:r>
            <a:rPr lang="en-US" sz="1200" kern="1200" baseline="0" dirty="0" err="1"/>
            <a:t>az</a:t>
          </a:r>
          <a:r>
            <a:rPr lang="en-US" sz="1200" kern="1200" baseline="0" dirty="0"/>
            <a:t> </a:t>
          </a:r>
          <a:r>
            <a:rPr lang="en-US" sz="1200" kern="1200" baseline="0" dirty="0" err="1"/>
            <a:t>sql</a:t>
          </a:r>
          <a:r>
            <a:rPr lang="en-US" sz="1200" kern="1200" baseline="0" dirty="0"/>
            <a:t> server firewall-rule show</a:t>
          </a:r>
          <a:endParaRPr lang="en-US" sz="1200" kern="1200" dirty="0"/>
        </a:p>
        <a:p>
          <a:pPr marL="114300" lvl="1" indent="-114300" algn="l" defTabSz="533400">
            <a:lnSpc>
              <a:spcPct val="90000"/>
            </a:lnSpc>
            <a:spcBef>
              <a:spcPct val="0"/>
            </a:spcBef>
            <a:spcAft>
              <a:spcPct val="20000"/>
            </a:spcAft>
            <a:buChar char="•"/>
          </a:pPr>
          <a:r>
            <a:rPr lang="en-US" sz="1200" kern="1200" baseline="0" dirty="0" err="1"/>
            <a:t>az</a:t>
          </a:r>
          <a:r>
            <a:rPr lang="en-US" sz="1200" kern="1200" baseline="0" dirty="0"/>
            <a:t> </a:t>
          </a:r>
          <a:r>
            <a:rPr lang="en-US" sz="1200" kern="1200" baseline="0" dirty="0" err="1"/>
            <a:t>sql</a:t>
          </a:r>
          <a:r>
            <a:rPr lang="en-US" sz="1200" kern="1200" baseline="0" dirty="0"/>
            <a:t> server firewall-rule update</a:t>
          </a:r>
          <a:endParaRPr lang="en-US" sz="1200" kern="1200" dirty="0"/>
        </a:p>
        <a:p>
          <a:pPr marL="114300" lvl="1" indent="-114300" algn="l" defTabSz="533400">
            <a:lnSpc>
              <a:spcPct val="90000"/>
            </a:lnSpc>
            <a:spcBef>
              <a:spcPct val="0"/>
            </a:spcBef>
            <a:spcAft>
              <a:spcPct val="20000"/>
            </a:spcAft>
            <a:buChar char="•"/>
          </a:pPr>
          <a:r>
            <a:rPr lang="en-US" sz="1200" kern="1200" baseline="0" dirty="0" err="1"/>
            <a:t>az</a:t>
          </a:r>
          <a:r>
            <a:rPr lang="en-US" sz="1200" kern="1200" baseline="0" dirty="0"/>
            <a:t> </a:t>
          </a:r>
          <a:r>
            <a:rPr lang="en-US" sz="1200" kern="1200" baseline="0" dirty="0" err="1"/>
            <a:t>sql</a:t>
          </a:r>
          <a:r>
            <a:rPr lang="en-US" sz="1200" kern="1200" baseline="0" dirty="0"/>
            <a:t> server firewall-rule delete</a:t>
          </a:r>
          <a:endParaRPr lang="en-US" sz="1200" kern="1200" dirty="0"/>
        </a:p>
      </dsp:txBody>
      <dsp:txXfrm>
        <a:off x="0" y="516275"/>
        <a:ext cx="5284785" cy="430139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C5DCEF-0067-45E7-9066-15829EFF0255}">
      <dsp:nvSpPr>
        <dsp:cNvPr id="0" name=""/>
        <dsp:cNvSpPr/>
      </dsp:nvSpPr>
      <dsp:spPr>
        <a:xfrm>
          <a:off x="0" y="52994"/>
          <a:ext cx="5284787" cy="54054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a:t>Transact-SQL</a:t>
          </a:r>
          <a:endParaRPr lang="en-US" sz="2100" kern="1200"/>
        </a:p>
      </dsp:txBody>
      <dsp:txXfrm>
        <a:off x="26387" y="79381"/>
        <a:ext cx="5232013" cy="487766"/>
      </dsp:txXfrm>
    </dsp:sp>
    <dsp:sp modelId="{55E169EB-7D49-40F1-AE5D-92FFA709C28F}">
      <dsp:nvSpPr>
        <dsp:cNvPr id="0" name=""/>
        <dsp:cNvSpPr/>
      </dsp:nvSpPr>
      <dsp:spPr>
        <a:xfrm>
          <a:off x="0" y="593534"/>
          <a:ext cx="5284787" cy="41731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7792" tIns="26670" rIns="149352" bIns="26670" numCol="1" spcCol="1270" anchor="t" anchorCtr="0">
          <a:noAutofit/>
        </a:bodyPr>
        <a:lstStyle/>
        <a:p>
          <a:pPr marL="171450" lvl="1" indent="-171450" algn="l" defTabSz="711200">
            <a:lnSpc>
              <a:spcPct val="90000"/>
            </a:lnSpc>
            <a:spcBef>
              <a:spcPct val="0"/>
            </a:spcBef>
            <a:spcAft>
              <a:spcPct val="20000"/>
            </a:spcAft>
            <a:buChar char="•"/>
          </a:pPr>
          <a:r>
            <a:rPr lang="en-US" sz="1600" kern="1200" baseline="0"/>
            <a:t>CREATE DATABASE</a:t>
          </a:r>
          <a:endParaRPr lang="en-US" sz="1600" kern="1200"/>
        </a:p>
        <a:p>
          <a:pPr marL="171450" lvl="1" indent="-171450" algn="l" defTabSz="711200">
            <a:lnSpc>
              <a:spcPct val="90000"/>
            </a:lnSpc>
            <a:spcBef>
              <a:spcPct val="0"/>
            </a:spcBef>
            <a:spcAft>
              <a:spcPct val="20000"/>
            </a:spcAft>
            <a:buChar char="•"/>
          </a:pPr>
          <a:r>
            <a:rPr lang="en-US" sz="1600" kern="1200" baseline="0"/>
            <a:t>ALTER DATABASE</a:t>
          </a:r>
          <a:endParaRPr lang="en-US" sz="1600" kern="1200"/>
        </a:p>
        <a:p>
          <a:pPr marL="171450" lvl="1" indent="-171450" algn="l" defTabSz="711200">
            <a:lnSpc>
              <a:spcPct val="90000"/>
            </a:lnSpc>
            <a:spcBef>
              <a:spcPct val="0"/>
            </a:spcBef>
            <a:spcAft>
              <a:spcPct val="20000"/>
            </a:spcAft>
            <a:buChar char="•"/>
          </a:pPr>
          <a:r>
            <a:rPr lang="en-US" sz="1600" kern="1200" baseline="0"/>
            <a:t>DROP DATABASE</a:t>
          </a:r>
          <a:endParaRPr lang="en-US" sz="1600" kern="1200"/>
        </a:p>
        <a:p>
          <a:pPr marL="171450" lvl="1" indent="-171450" algn="l" defTabSz="711200">
            <a:lnSpc>
              <a:spcPct val="90000"/>
            </a:lnSpc>
            <a:spcBef>
              <a:spcPct val="0"/>
            </a:spcBef>
            <a:spcAft>
              <a:spcPct val="20000"/>
            </a:spcAft>
            <a:buChar char="•"/>
          </a:pPr>
          <a:r>
            <a:rPr lang="en-US" sz="1600" kern="1200" baseline="0"/>
            <a:t>sys.database_service_objectives</a:t>
          </a:r>
          <a:endParaRPr lang="en-US" sz="1600" kern="1200"/>
        </a:p>
        <a:p>
          <a:pPr marL="171450" lvl="1" indent="-171450" algn="l" defTabSz="711200">
            <a:lnSpc>
              <a:spcPct val="90000"/>
            </a:lnSpc>
            <a:spcBef>
              <a:spcPct val="0"/>
            </a:spcBef>
            <a:spcAft>
              <a:spcPct val="20000"/>
            </a:spcAft>
            <a:buChar char="•"/>
          </a:pPr>
          <a:r>
            <a:rPr lang="en-US" sz="1600" kern="1200" baseline="0"/>
            <a:t>sys.dm_db_resource_stats</a:t>
          </a:r>
          <a:endParaRPr lang="en-US" sz="1600" kern="1200"/>
        </a:p>
        <a:p>
          <a:pPr marL="171450" lvl="1" indent="-171450" algn="l" defTabSz="711200">
            <a:lnSpc>
              <a:spcPct val="90000"/>
            </a:lnSpc>
            <a:spcBef>
              <a:spcPct val="0"/>
            </a:spcBef>
            <a:spcAft>
              <a:spcPct val="20000"/>
            </a:spcAft>
            <a:buChar char="•"/>
          </a:pPr>
          <a:r>
            <a:rPr lang="en-US" sz="1600" kern="1200" baseline="0"/>
            <a:t>sys.resource_stats</a:t>
          </a:r>
          <a:endParaRPr lang="en-US" sz="1600" kern="1200"/>
        </a:p>
        <a:p>
          <a:pPr marL="171450" lvl="1" indent="-171450" algn="l" defTabSz="711200">
            <a:lnSpc>
              <a:spcPct val="90000"/>
            </a:lnSpc>
            <a:spcBef>
              <a:spcPct val="0"/>
            </a:spcBef>
            <a:spcAft>
              <a:spcPct val="20000"/>
            </a:spcAft>
            <a:buChar char="•"/>
          </a:pPr>
          <a:r>
            <a:rPr lang="en-US" sz="1600" kern="1200" baseline="0"/>
            <a:t>sys.database_connection_stats</a:t>
          </a:r>
          <a:endParaRPr lang="en-US" sz="1600" kern="1200"/>
        </a:p>
        <a:p>
          <a:pPr marL="171450" lvl="1" indent="-171450" algn="l" defTabSz="711200">
            <a:lnSpc>
              <a:spcPct val="90000"/>
            </a:lnSpc>
            <a:spcBef>
              <a:spcPct val="0"/>
            </a:spcBef>
            <a:spcAft>
              <a:spcPct val="20000"/>
            </a:spcAft>
            <a:buChar char="•"/>
          </a:pPr>
          <a:r>
            <a:rPr lang="en-US" sz="1600" kern="1200" baseline="0"/>
            <a:t>sys.event_log</a:t>
          </a:r>
          <a:endParaRPr lang="en-US" sz="1600" kern="1200"/>
        </a:p>
        <a:p>
          <a:pPr marL="171450" lvl="1" indent="-171450" algn="l" defTabSz="711200">
            <a:lnSpc>
              <a:spcPct val="90000"/>
            </a:lnSpc>
            <a:spcBef>
              <a:spcPct val="0"/>
            </a:spcBef>
            <a:spcAft>
              <a:spcPct val="20000"/>
            </a:spcAft>
            <a:buChar char="•"/>
          </a:pPr>
          <a:r>
            <a:rPr lang="en-US" sz="1600" kern="1200" baseline="0"/>
            <a:t>sp_set_firewall_rule</a:t>
          </a:r>
          <a:endParaRPr lang="en-US" sz="1600" kern="1200"/>
        </a:p>
        <a:p>
          <a:pPr marL="171450" lvl="1" indent="-171450" algn="l" defTabSz="711200">
            <a:lnSpc>
              <a:spcPct val="90000"/>
            </a:lnSpc>
            <a:spcBef>
              <a:spcPct val="0"/>
            </a:spcBef>
            <a:spcAft>
              <a:spcPct val="20000"/>
            </a:spcAft>
            <a:buChar char="•"/>
          </a:pPr>
          <a:r>
            <a:rPr lang="en-US" sz="1600" kern="1200" baseline="0"/>
            <a:t>sys.firewall_rules</a:t>
          </a:r>
          <a:endParaRPr lang="en-US" sz="1600" kern="1200"/>
        </a:p>
        <a:p>
          <a:pPr marL="171450" lvl="1" indent="-171450" algn="l" defTabSz="711200">
            <a:lnSpc>
              <a:spcPct val="90000"/>
            </a:lnSpc>
            <a:spcBef>
              <a:spcPct val="0"/>
            </a:spcBef>
            <a:spcAft>
              <a:spcPct val="20000"/>
            </a:spcAft>
            <a:buChar char="•"/>
          </a:pPr>
          <a:r>
            <a:rPr lang="en-US" sz="1600" kern="1200" baseline="0"/>
            <a:t>sp_delete_firewall_rule</a:t>
          </a:r>
          <a:endParaRPr lang="en-US" sz="1600" kern="1200"/>
        </a:p>
        <a:p>
          <a:pPr marL="171450" lvl="1" indent="-171450" algn="l" defTabSz="711200">
            <a:lnSpc>
              <a:spcPct val="90000"/>
            </a:lnSpc>
            <a:spcBef>
              <a:spcPct val="0"/>
            </a:spcBef>
            <a:spcAft>
              <a:spcPct val="20000"/>
            </a:spcAft>
            <a:buChar char="•"/>
          </a:pPr>
          <a:r>
            <a:rPr lang="en-US" sz="1600" kern="1200" baseline="0"/>
            <a:t>sp_set_database_firewall_rule</a:t>
          </a:r>
          <a:endParaRPr lang="en-US" sz="1600" kern="1200"/>
        </a:p>
        <a:p>
          <a:pPr marL="171450" lvl="1" indent="-171450" algn="l" defTabSz="711200">
            <a:lnSpc>
              <a:spcPct val="90000"/>
            </a:lnSpc>
            <a:spcBef>
              <a:spcPct val="0"/>
            </a:spcBef>
            <a:spcAft>
              <a:spcPct val="20000"/>
            </a:spcAft>
            <a:buChar char="•"/>
          </a:pPr>
          <a:r>
            <a:rPr lang="en-US" sz="1600" kern="1200" baseline="0"/>
            <a:t>sys.database_firewall_rules</a:t>
          </a:r>
          <a:endParaRPr lang="en-US" sz="1600" kern="1200"/>
        </a:p>
        <a:p>
          <a:pPr marL="171450" lvl="1" indent="-171450" algn="l" defTabSz="711200">
            <a:lnSpc>
              <a:spcPct val="90000"/>
            </a:lnSpc>
            <a:spcBef>
              <a:spcPct val="0"/>
            </a:spcBef>
            <a:spcAft>
              <a:spcPct val="20000"/>
            </a:spcAft>
            <a:buChar char="•"/>
          </a:pPr>
          <a:r>
            <a:rPr lang="en-US" sz="1600" kern="1200" baseline="0"/>
            <a:t>sp_delete_database_firewall_rule</a:t>
          </a:r>
          <a:endParaRPr lang="en-US" sz="1600" kern="1200"/>
        </a:p>
      </dsp:txBody>
      <dsp:txXfrm>
        <a:off x="0" y="593534"/>
        <a:ext cx="5284787" cy="417312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02BE72-AFC4-4B48-890F-94F7194F6900}">
      <dsp:nvSpPr>
        <dsp:cNvPr id="0" name=""/>
        <dsp:cNvSpPr/>
      </dsp:nvSpPr>
      <dsp:spPr>
        <a:xfrm>
          <a:off x="0" y="91604"/>
          <a:ext cx="5284785" cy="46332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baseline="0"/>
            <a:t>REST API</a:t>
          </a:r>
          <a:endParaRPr lang="en-US" sz="1800" kern="1200"/>
        </a:p>
      </dsp:txBody>
      <dsp:txXfrm>
        <a:off x="22617" y="114221"/>
        <a:ext cx="5239551" cy="418086"/>
      </dsp:txXfrm>
    </dsp:sp>
    <dsp:sp modelId="{12EB56A5-A09C-44DB-B55E-FDBE35979818}">
      <dsp:nvSpPr>
        <dsp:cNvPr id="0" name=""/>
        <dsp:cNvSpPr/>
      </dsp:nvSpPr>
      <dsp:spPr>
        <a:xfrm>
          <a:off x="0" y="554924"/>
          <a:ext cx="5284785" cy="41731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7792" tIns="22860" rIns="128016" bIns="22860" numCol="1" spcCol="1270" anchor="t" anchorCtr="0">
          <a:noAutofit/>
        </a:bodyPr>
        <a:lstStyle/>
        <a:p>
          <a:pPr marL="114300" lvl="1" indent="-114300" algn="l" defTabSz="622300">
            <a:lnSpc>
              <a:spcPct val="90000"/>
            </a:lnSpc>
            <a:spcBef>
              <a:spcPct val="0"/>
            </a:spcBef>
            <a:spcAft>
              <a:spcPct val="20000"/>
            </a:spcAft>
            <a:buChar char="•"/>
          </a:pPr>
          <a:r>
            <a:rPr lang="en-US" sz="1400" kern="1200" baseline="0"/>
            <a:t>Servers - Create or update</a:t>
          </a:r>
          <a:endParaRPr lang="en-US" sz="1400" kern="1200"/>
        </a:p>
        <a:p>
          <a:pPr marL="114300" lvl="1" indent="-114300" algn="l" defTabSz="622300">
            <a:lnSpc>
              <a:spcPct val="90000"/>
            </a:lnSpc>
            <a:spcBef>
              <a:spcPct val="0"/>
            </a:spcBef>
            <a:spcAft>
              <a:spcPct val="20000"/>
            </a:spcAft>
            <a:buChar char="•"/>
          </a:pPr>
          <a:r>
            <a:rPr lang="en-US" sz="1400" kern="1200" baseline="0"/>
            <a:t>Servers - Delete</a:t>
          </a:r>
          <a:endParaRPr lang="en-US" sz="1400" kern="1200"/>
        </a:p>
        <a:p>
          <a:pPr marL="114300" lvl="1" indent="-114300" algn="l" defTabSz="622300">
            <a:lnSpc>
              <a:spcPct val="90000"/>
            </a:lnSpc>
            <a:spcBef>
              <a:spcPct val="0"/>
            </a:spcBef>
            <a:spcAft>
              <a:spcPct val="20000"/>
            </a:spcAft>
            <a:buChar char="•"/>
          </a:pPr>
          <a:r>
            <a:rPr lang="en-US" sz="1400" kern="1200" baseline="0"/>
            <a:t>Servers - Get</a:t>
          </a:r>
          <a:endParaRPr lang="en-US" sz="1400" kern="1200"/>
        </a:p>
        <a:p>
          <a:pPr marL="114300" lvl="1" indent="-114300" algn="l" defTabSz="622300">
            <a:lnSpc>
              <a:spcPct val="90000"/>
            </a:lnSpc>
            <a:spcBef>
              <a:spcPct val="0"/>
            </a:spcBef>
            <a:spcAft>
              <a:spcPct val="20000"/>
            </a:spcAft>
            <a:buChar char="•"/>
          </a:pPr>
          <a:r>
            <a:rPr lang="en-US" sz="1400" kern="1200" baseline="0"/>
            <a:t>Servers - List</a:t>
          </a:r>
          <a:endParaRPr lang="en-US" sz="1400" kern="1200"/>
        </a:p>
        <a:p>
          <a:pPr marL="114300" lvl="1" indent="-114300" algn="l" defTabSz="622300">
            <a:lnSpc>
              <a:spcPct val="90000"/>
            </a:lnSpc>
            <a:spcBef>
              <a:spcPct val="0"/>
            </a:spcBef>
            <a:spcAft>
              <a:spcPct val="20000"/>
            </a:spcAft>
            <a:buChar char="•"/>
          </a:pPr>
          <a:r>
            <a:rPr lang="en-US" sz="1400" kern="1200" baseline="0"/>
            <a:t>Servers - List by resource group</a:t>
          </a:r>
          <a:endParaRPr lang="en-US" sz="1400" kern="1200"/>
        </a:p>
        <a:p>
          <a:pPr marL="114300" lvl="1" indent="-114300" algn="l" defTabSz="622300">
            <a:lnSpc>
              <a:spcPct val="90000"/>
            </a:lnSpc>
            <a:spcBef>
              <a:spcPct val="0"/>
            </a:spcBef>
            <a:spcAft>
              <a:spcPct val="20000"/>
            </a:spcAft>
            <a:buChar char="•"/>
          </a:pPr>
          <a:r>
            <a:rPr lang="en-US" sz="1400" kern="1200" baseline="0"/>
            <a:t>Servers - Update</a:t>
          </a:r>
          <a:endParaRPr lang="en-US" sz="1400" kern="1200"/>
        </a:p>
        <a:p>
          <a:pPr marL="114300" lvl="1" indent="-114300" algn="l" defTabSz="622300">
            <a:lnSpc>
              <a:spcPct val="90000"/>
            </a:lnSpc>
            <a:spcBef>
              <a:spcPct val="0"/>
            </a:spcBef>
            <a:spcAft>
              <a:spcPct val="20000"/>
            </a:spcAft>
            <a:buChar char="•"/>
          </a:pPr>
          <a:r>
            <a:rPr lang="en-US" sz="1400" kern="1200" baseline="0"/>
            <a:t>Databases - Create or update</a:t>
          </a:r>
          <a:endParaRPr lang="en-US" sz="1400" kern="1200"/>
        </a:p>
        <a:p>
          <a:pPr marL="114300" lvl="1" indent="-114300" algn="l" defTabSz="622300">
            <a:lnSpc>
              <a:spcPct val="90000"/>
            </a:lnSpc>
            <a:spcBef>
              <a:spcPct val="0"/>
            </a:spcBef>
            <a:spcAft>
              <a:spcPct val="20000"/>
            </a:spcAft>
            <a:buChar char="•"/>
          </a:pPr>
          <a:r>
            <a:rPr lang="en-US" sz="1400" kern="1200" baseline="0"/>
            <a:t>Databases - Delete</a:t>
          </a:r>
          <a:endParaRPr lang="en-US" sz="1400" kern="1200"/>
        </a:p>
        <a:p>
          <a:pPr marL="114300" lvl="1" indent="-114300" algn="l" defTabSz="622300">
            <a:lnSpc>
              <a:spcPct val="90000"/>
            </a:lnSpc>
            <a:spcBef>
              <a:spcPct val="0"/>
            </a:spcBef>
            <a:spcAft>
              <a:spcPct val="20000"/>
            </a:spcAft>
            <a:buChar char="•"/>
          </a:pPr>
          <a:r>
            <a:rPr lang="en-US" sz="1400" kern="1200" baseline="0"/>
            <a:t>Databases - Get</a:t>
          </a:r>
          <a:endParaRPr lang="en-US" sz="1400" kern="1200"/>
        </a:p>
        <a:p>
          <a:pPr marL="114300" lvl="1" indent="-114300" algn="l" defTabSz="622300">
            <a:lnSpc>
              <a:spcPct val="90000"/>
            </a:lnSpc>
            <a:spcBef>
              <a:spcPct val="0"/>
            </a:spcBef>
            <a:spcAft>
              <a:spcPct val="20000"/>
            </a:spcAft>
            <a:buChar char="•"/>
          </a:pPr>
          <a:r>
            <a:rPr lang="en-US" sz="1400" kern="1200" baseline="0" dirty="0"/>
            <a:t>Databases - List by elastic pool</a:t>
          </a:r>
          <a:endParaRPr lang="en-US" sz="1400" kern="1200" dirty="0"/>
        </a:p>
        <a:p>
          <a:pPr marL="114300" lvl="1" indent="-114300" algn="l" defTabSz="622300">
            <a:lnSpc>
              <a:spcPct val="90000"/>
            </a:lnSpc>
            <a:spcBef>
              <a:spcPct val="0"/>
            </a:spcBef>
            <a:spcAft>
              <a:spcPct val="20000"/>
            </a:spcAft>
            <a:buChar char="•"/>
          </a:pPr>
          <a:r>
            <a:rPr lang="en-US" sz="1400" kern="1200" baseline="0"/>
            <a:t>Databases - List by server</a:t>
          </a:r>
          <a:endParaRPr lang="en-US" sz="1400" kern="1200"/>
        </a:p>
        <a:p>
          <a:pPr marL="114300" lvl="1" indent="-114300" algn="l" defTabSz="622300">
            <a:lnSpc>
              <a:spcPct val="90000"/>
            </a:lnSpc>
            <a:spcBef>
              <a:spcPct val="0"/>
            </a:spcBef>
            <a:spcAft>
              <a:spcPct val="20000"/>
            </a:spcAft>
            <a:buChar char="•"/>
          </a:pPr>
          <a:r>
            <a:rPr lang="en-US" sz="1400" kern="1200" baseline="0"/>
            <a:t>Databases - Update</a:t>
          </a:r>
          <a:endParaRPr lang="en-US" sz="1400" kern="1200"/>
        </a:p>
        <a:p>
          <a:pPr marL="114300" lvl="1" indent="-114300" algn="l" defTabSz="622300">
            <a:lnSpc>
              <a:spcPct val="90000"/>
            </a:lnSpc>
            <a:spcBef>
              <a:spcPct val="0"/>
            </a:spcBef>
            <a:spcAft>
              <a:spcPct val="20000"/>
            </a:spcAft>
            <a:buChar char="•"/>
          </a:pPr>
          <a:r>
            <a:rPr lang="en-US" sz="1400" kern="1200" baseline="0"/>
            <a:t>Firewall rules - Create or update</a:t>
          </a:r>
          <a:endParaRPr lang="en-US" sz="1400" kern="1200"/>
        </a:p>
        <a:p>
          <a:pPr marL="114300" lvl="1" indent="-114300" algn="l" defTabSz="622300">
            <a:lnSpc>
              <a:spcPct val="90000"/>
            </a:lnSpc>
            <a:spcBef>
              <a:spcPct val="0"/>
            </a:spcBef>
            <a:spcAft>
              <a:spcPct val="20000"/>
            </a:spcAft>
            <a:buChar char="•"/>
          </a:pPr>
          <a:r>
            <a:rPr lang="en-US" sz="1400" kern="1200" baseline="0"/>
            <a:t>Firewall rules - Delete</a:t>
          </a:r>
          <a:endParaRPr lang="en-US" sz="1400" kern="1200"/>
        </a:p>
        <a:p>
          <a:pPr marL="114300" lvl="1" indent="-114300" algn="l" defTabSz="622300">
            <a:lnSpc>
              <a:spcPct val="90000"/>
            </a:lnSpc>
            <a:spcBef>
              <a:spcPct val="0"/>
            </a:spcBef>
            <a:spcAft>
              <a:spcPct val="20000"/>
            </a:spcAft>
            <a:buChar char="•"/>
          </a:pPr>
          <a:r>
            <a:rPr lang="en-US" sz="1400" kern="1200" baseline="0"/>
            <a:t>Firewall rules - Get</a:t>
          </a:r>
          <a:endParaRPr lang="en-US" sz="1400" kern="1200"/>
        </a:p>
        <a:p>
          <a:pPr marL="114300" lvl="1" indent="-114300" algn="l" defTabSz="622300">
            <a:lnSpc>
              <a:spcPct val="90000"/>
            </a:lnSpc>
            <a:spcBef>
              <a:spcPct val="0"/>
            </a:spcBef>
            <a:spcAft>
              <a:spcPct val="20000"/>
            </a:spcAft>
            <a:buChar char="•"/>
          </a:pPr>
          <a:r>
            <a:rPr lang="en-US" sz="1400" kern="1200" baseline="0"/>
            <a:t>Firewall rules - List by server</a:t>
          </a:r>
          <a:endParaRPr lang="en-US" sz="1400" kern="1200"/>
        </a:p>
      </dsp:txBody>
      <dsp:txXfrm>
        <a:off x="0" y="554924"/>
        <a:ext cx="5284785" cy="417312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15943"/>
          <a:ext cx="10880725" cy="10296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solidFill>
                <a:srgbClr val="FFFFFF"/>
              </a:solidFill>
            </a:rPr>
            <a:t>What are the different tools that you can use to manage your Azure SQL Database?</a:t>
          </a:r>
          <a:endParaRPr lang="en-US" sz="2400" kern="1200" dirty="0"/>
        </a:p>
      </dsp:txBody>
      <dsp:txXfrm>
        <a:off x="50261" y="66204"/>
        <a:ext cx="10780203" cy="929078"/>
      </dsp:txXfrm>
    </dsp:sp>
    <dsp:sp modelId="{B9379030-5186-49D6-8048-84D114E616B4}">
      <dsp:nvSpPr>
        <dsp:cNvPr id="0" name=""/>
        <dsp:cNvSpPr/>
      </dsp:nvSpPr>
      <dsp:spPr>
        <a:xfrm>
          <a:off x="0" y="1203943"/>
          <a:ext cx="10880725" cy="102960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Font typeface="Arial" panose="020B0604020202020204" pitchFamily="34" charset="0"/>
            <a:buNone/>
          </a:pPr>
          <a:r>
            <a:rPr lang="en-US" sz="2400" kern="1200" dirty="0">
              <a:solidFill>
                <a:srgbClr val="FFFFFF"/>
              </a:solidFill>
            </a:rPr>
            <a:t>What is the main recommendation to connect to Azure SQL databases regarding the version of the tools?</a:t>
          </a:r>
          <a:endParaRPr lang="en-US" sz="2400" kern="1200" dirty="0"/>
        </a:p>
      </dsp:txBody>
      <dsp:txXfrm>
        <a:off x="50261" y="1254204"/>
        <a:ext cx="10780203" cy="929078"/>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08A5EAB-3BB0-4A6C-9794-7BD56124DAF8}">
      <dsp:nvSpPr>
        <dsp:cNvPr id="0" name=""/>
        <dsp:cNvSpPr/>
      </dsp:nvSpPr>
      <dsp:spPr>
        <a:xfrm>
          <a:off x="0" y="21573"/>
          <a:ext cx="3840162" cy="61776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PowerShell</a:t>
          </a:r>
          <a:endParaRPr lang="en-US" sz="2400" kern="1200" dirty="0"/>
        </a:p>
      </dsp:txBody>
      <dsp:txXfrm>
        <a:off x="30157" y="51730"/>
        <a:ext cx="3779848" cy="557446"/>
      </dsp:txXfrm>
    </dsp:sp>
    <dsp:sp modelId="{3325B63E-757F-46A1-B90D-EB50213FEDF1}">
      <dsp:nvSpPr>
        <dsp:cNvPr id="0" name=""/>
        <dsp:cNvSpPr/>
      </dsp:nvSpPr>
      <dsp:spPr>
        <a:xfrm>
          <a:off x="0" y="639333"/>
          <a:ext cx="3840162" cy="5464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5"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dirty="0"/>
            <a:t>Set-</a:t>
          </a:r>
          <a:r>
            <a:rPr lang="en-US" sz="2000" kern="1200" baseline="0" dirty="0" err="1"/>
            <a:t>AzSqlDatabase</a:t>
          </a:r>
          <a:endParaRPr lang="en-US" sz="2000" kern="1200" dirty="0"/>
        </a:p>
      </dsp:txBody>
      <dsp:txXfrm>
        <a:off x="0" y="639333"/>
        <a:ext cx="3840162" cy="546480"/>
      </dsp:txXfrm>
    </dsp:sp>
    <dsp:sp modelId="{934805BF-8023-4612-B5F3-CC19F4A2752C}">
      <dsp:nvSpPr>
        <dsp:cNvPr id="0" name=""/>
        <dsp:cNvSpPr/>
      </dsp:nvSpPr>
      <dsp:spPr>
        <a:xfrm>
          <a:off x="0" y="1185813"/>
          <a:ext cx="3840162" cy="61776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REST</a:t>
          </a:r>
          <a:endParaRPr lang="en-US" sz="2400" kern="1200" dirty="0"/>
        </a:p>
      </dsp:txBody>
      <dsp:txXfrm>
        <a:off x="30157" y="1215970"/>
        <a:ext cx="3779848" cy="557446"/>
      </dsp:txXfrm>
    </dsp:sp>
    <dsp:sp modelId="{3D612DB5-6F16-4F93-AE2E-250304AFBD00}">
      <dsp:nvSpPr>
        <dsp:cNvPr id="0" name=""/>
        <dsp:cNvSpPr/>
      </dsp:nvSpPr>
      <dsp:spPr>
        <a:xfrm>
          <a:off x="0" y="1803573"/>
          <a:ext cx="3840162" cy="5464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5"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dirty="0"/>
            <a:t>Update database</a:t>
          </a:r>
          <a:endParaRPr lang="en-US" sz="2000" kern="1200" dirty="0"/>
        </a:p>
      </dsp:txBody>
      <dsp:txXfrm>
        <a:off x="0" y="1803573"/>
        <a:ext cx="3840162" cy="546480"/>
      </dsp:txXfrm>
    </dsp:sp>
    <dsp:sp modelId="{B1C242CC-A693-4C4F-B4D5-DCFD04B25411}">
      <dsp:nvSpPr>
        <dsp:cNvPr id="0" name=""/>
        <dsp:cNvSpPr/>
      </dsp:nvSpPr>
      <dsp:spPr>
        <a:xfrm>
          <a:off x="0" y="2350053"/>
          <a:ext cx="3840162" cy="61776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Azure CLI</a:t>
          </a:r>
          <a:endParaRPr lang="en-US" sz="2400" kern="1200" dirty="0"/>
        </a:p>
      </dsp:txBody>
      <dsp:txXfrm>
        <a:off x="30157" y="2380210"/>
        <a:ext cx="3779848" cy="557446"/>
      </dsp:txXfrm>
    </dsp:sp>
    <dsp:sp modelId="{261C8662-6846-41B8-AED8-16DC4F7656DF}">
      <dsp:nvSpPr>
        <dsp:cNvPr id="0" name=""/>
        <dsp:cNvSpPr/>
      </dsp:nvSpPr>
      <dsp:spPr>
        <a:xfrm>
          <a:off x="0" y="2967813"/>
          <a:ext cx="3840162" cy="5464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5"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dirty="0" err="1"/>
            <a:t>az</a:t>
          </a:r>
          <a:r>
            <a:rPr lang="en-US" sz="2000" kern="1200" baseline="0" dirty="0"/>
            <a:t> </a:t>
          </a:r>
          <a:r>
            <a:rPr lang="en-US" sz="2000" kern="1200" baseline="0" dirty="0" err="1"/>
            <a:t>sql</a:t>
          </a:r>
          <a:r>
            <a:rPr lang="en-US" sz="2000" kern="1200" baseline="0" dirty="0"/>
            <a:t> </a:t>
          </a:r>
          <a:r>
            <a:rPr lang="en-US" sz="2000" kern="1200" baseline="0" dirty="0" err="1"/>
            <a:t>db</a:t>
          </a:r>
          <a:r>
            <a:rPr lang="en-US" sz="2000" kern="1200" baseline="0" dirty="0"/>
            <a:t> update</a:t>
          </a:r>
          <a:endParaRPr lang="en-US" sz="2000" kern="1200" dirty="0"/>
        </a:p>
      </dsp:txBody>
      <dsp:txXfrm>
        <a:off x="0" y="2967813"/>
        <a:ext cx="3840162" cy="546480"/>
      </dsp:txXfrm>
    </dsp:sp>
    <dsp:sp modelId="{39774D1A-67C5-490C-96D8-ABCDC9A7C164}">
      <dsp:nvSpPr>
        <dsp:cNvPr id="0" name=""/>
        <dsp:cNvSpPr/>
      </dsp:nvSpPr>
      <dsp:spPr>
        <a:xfrm>
          <a:off x="0" y="3514293"/>
          <a:ext cx="3840162" cy="61776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T-SQL</a:t>
          </a:r>
          <a:endParaRPr lang="en-US" sz="2400" kern="1200" dirty="0"/>
        </a:p>
      </dsp:txBody>
      <dsp:txXfrm>
        <a:off x="30157" y="3544450"/>
        <a:ext cx="3779848" cy="557446"/>
      </dsp:txXfrm>
    </dsp:sp>
    <dsp:sp modelId="{206AE505-7652-422D-9A53-65D5EEBFE51D}">
      <dsp:nvSpPr>
        <dsp:cNvPr id="0" name=""/>
        <dsp:cNvSpPr/>
      </dsp:nvSpPr>
      <dsp:spPr>
        <a:xfrm>
          <a:off x="0" y="4132053"/>
          <a:ext cx="3840162" cy="6660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5"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dirty="0"/>
            <a:t>ALTER DATABASE … MODIFY (EDITION = …)</a:t>
          </a:r>
          <a:endParaRPr lang="en-US" sz="2000" kern="1200" dirty="0"/>
        </a:p>
      </dsp:txBody>
      <dsp:txXfrm>
        <a:off x="0" y="4132053"/>
        <a:ext cx="3840162" cy="666022"/>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1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9.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5.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E1BD7B-C992-4BE7-ABFB-5478334E97F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a:extLst>
              <a:ext uri="{FF2B5EF4-FFF2-40B4-BE49-F238E27FC236}">
                <a16:creationId xmlns:a16="http://schemas.microsoft.com/office/drawing/2014/main" id="{EA0BE844-B451-451E-95BD-2217A0E9EB9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526A0C5-1737-4516-8613-63010B1547B8}" type="datetimeFigureOut">
              <a:rPr lang="de-DE" smtClean="0"/>
              <a:t>17.01.2022</a:t>
            </a:fld>
            <a:endParaRPr lang="de-DE"/>
          </a:p>
        </p:txBody>
      </p:sp>
      <p:sp>
        <p:nvSpPr>
          <p:cNvPr id="4" name="Footer Placeholder 3">
            <a:extLst>
              <a:ext uri="{FF2B5EF4-FFF2-40B4-BE49-F238E27FC236}">
                <a16:creationId xmlns:a16="http://schemas.microsoft.com/office/drawing/2014/main" id="{9BC6EC59-DF49-4DE8-A9D9-234D3F5E1A20}"/>
              </a:ext>
            </a:extLst>
          </p:cNvPr>
          <p:cNvSpPr>
            <a:spLocks noGrp="1"/>
          </p:cNvSpPr>
          <p:nvPr>
            <p:ph type="ftr" sz="quarter" idx="2"/>
          </p:nvPr>
        </p:nvSpPr>
        <p:spPr>
          <a:xfrm>
            <a:off x="0" y="8685214"/>
            <a:ext cx="5795010" cy="332434"/>
          </a:xfrm>
          <a:prstGeom prst="rect">
            <a:avLst/>
          </a:prstGeom>
        </p:spPr>
        <p:txBody>
          <a:bodyPr vert="horz" lIns="91440" tIns="45720" rIns="91440" bIns="45720" rtlCol="0" anchor="b"/>
          <a:lstStyle>
            <a:lvl1pPr algn="l">
              <a:defRPr sz="1200"/>
            </a:lvl1pPr>
          </a:lstStyle>
          <a:p>
            <a:pPr algn="ctr"/>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de-DE" sz="400" dirty="0"/>
          </a:p>
        </p:txBody>
      </p:sp>
      <p:sp>
        <p:nvSpPr>
          <p:cNvPr id="5" name="Slide Number Placeholder 4">
            <a:extLst>
              <a:ext uri="{FF2B5EF4-FFF2-40B4-BE49-F238E27FC236}">
                <a16:creationId xmlns:a16="http://schemas.microsoft.com/office/drawing/2014/main" id="{27A467BB-2561-49FB-8D9F-C9BD83C791AE}"/>
              </a:ext>
            </a:extLst>
          </p:cNvPr>
          <p:cNvSpPr>
            <a:spLocks noGrp="1"/>
          </p:cNvSpPr>
          <p:nvPr>
            <p:ph type="sldNum" sz="quarter" idx="3"/>
          </p:nvPr>
        </p:nvSpPr>
        <p:spPr>
          <a:xfrm>
            <a:off x="5795009" y="8685213"/>
            <a:ext cx="1061403" cy="458787"/>
          </a:xfrm>
          <a:prstGeom prst="rect">
            <a:avLst/>
          </a:prstGeom>
        </p:spPr>
        <p:txBody>
          <a:bodyPr vert="horz" lIns="91440" tIns="45720" rIns="91440" bIns="45720" rtlCol="0" anchor="b"/>
          <a:lstStyle>
            <a:lvl1pPr algn="r">
              <a:defRPr sz="1200"/>
            </a:lvl1pPr>
          </a:lstStyle>
          <a:p>
            <a:fld id="{D0CF5A6F-0D2E-47B9-A178-820DCEC0BE80}" type="slidenum">
              <a:rPr lang="de-DE" smtClean="0"/>
              <a:t>‹#›</a:t>
            </a:fld>
            <a:endParaRPr lang="de-DE"/>
          </a:p>
        </p:txBody>
      </p:sp>
    </p:spTree>
    <p:extLst>
      <p:ext uri="{BB962C8B-B14F-4D97-AF65-F5344CB8AC3E}">
        <p14:creationId xmlns:p14="http://schemas.microsoft.com/office/powerpoint/2010/main" val="77614346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noProof="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A5393D-B028-4524-AF49-431A2D6FFD76}" type="datetimeFigureOut">
              <a:rPr lang="en-US" noProof="0" smtClean="0"/>
              <a:t>1/17/2022</a:t>
            </a:fld>
            <a:endParaRPr lang="en-US" noProof="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noProof="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a:p>
            <a:pPr lvl="5"/>
            <a:r>
              <a:rPr lang="en-US" noProof="0" dirty="0"/>
              <a:t>6</a:t>
            </a:r>
          </a:p>
          <a:p>
            <a:pPr lvl="6"/>
            <a:r>
              <a:rPr lang="en-US" noProof="0" dirty="0"/>
              <a:t>7</a:t>
            </a:r>
          </a:p>
          <a:p>
            <a:pPr lvl="7"/>
            <a:r>
              <a:rPr lang="en-US" noProof="0" dirty="0"/>
              <a:t>8</a:t>
            </a:r>
          </a:p>
          <a:p>
            <a:pPr lvl="8"/>
            <a:r>
              <a:rPr lang="en-US" noProof="0" dirty="0"/>
              <a:t>9</a:t>
            </a:r>
          </a:p>
        </p:txBody>
      </p:sp>
      <p:sp>
        <p:nvSpPr>
          <p:cNvPr id="6" name="Fußzeilenplatzhalter 5"/>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algn="ctr">
              <a:defRPr sz="400"/>
            </a:lvl1p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7" name="Foliennummernplatzhalter 6"/>
          <p:cNvSpPr>
            <a:spLocks noGrp="1"/>
          </p:cNvSpPr>
          <p:nvPr>
            <p:ph type="sldNum" sz="quarter" idx="5"/>
          </p:nvPr>
        </p:nvSpPr>
        <p:spPr>
          <a:xfrm>
            <a:off x="5920740" y="8685213"/>
            <a:ext cx="935672" cy="458787"/>
          </a:xfrm>
          <a:prstGeom prst="rect">
            <a:avLst/>
          </a:prstGeom>
        </p:spPr>
        <p:txBody>
          <a:bodyPr vert="horz" lIns="91440" tIns="45720" rIns="91440" bIns="45720" rtlCol="0" anchor="b"/>
          <a:lstStyle>
            <a:lvl1pPr algn="r">
              <a:defRPr sz="1200"/>
            </a:lvl1pPr>
          </a:lstStyle>
          <a:p>
            <a:fld id="{2910A2D9-F064-48EF-99CB-A51108C1AB40}" type="slidenum">
              <a:rPr lang="en-US" noProof="0" smtClean="0"/>
              <a:t>‹#›</a:t>
            </a:fld>
            <a:endParaRPr lang="en-US" noProof="0"/>
          </a:p>
        </p:txBody>
      </p:sp>
    </p:spTree>
    <p:extLst>
      <p:ext uri="{BB962C8B-B14F-4D97-AF65-F5344CB8AC3E}">
        <p14:creationId xmlns:p14="http://schemas.microsoft.com/office/powerpoint/2010/main" val="2951971024"/>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Bef>
        <a:spcPts val="333"/>
      </a:spcBef>
      <a:defRPr sz="882" kern="1200" baseline="0">
        <a:solidFill>
          <a:schemeClr val="tx1"/>
        </a:solidFill>
        <a:latin typeface="+mn-lt"/>
        <a:ea typeface="+mn-ea"/>
        <a:cs typeface="+mn-cs"/>
      </a:defRPr>
    </a:lvl1pPr>
    <a:lvl2pPr marL="210312" indent="-109728"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2pPr>
    <a:lvl3pPr marL="329184"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3pPr>
    <a:lvl4pPr marL="484632" indent="-146304"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4pPr>
    <a:lvl5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5pPr>
    <a:lvl6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6pPr>
    <a:lvl7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7pPr>
    <a:lvl8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8pPr>
    <a:lvl9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azure.microsoft.com/en-us/documentation/articles/sql-database-service-tiers/" TargetMode="External"/><Relationship Id="rId2" Type="http://schemas.openxmlformats.org/officeDocument/2006/relationships/slide" Target="../slides/slide20.xml"/><Relationship Id="rId1" Type="http://schemas.openxmlformats.org/officeDocument/2006/relationships/notesMaster" Target="../notesMasters/notesMaster1.xml"/><Relationship Id="rId5" Type="http://schemas.openxmlformats.org/officeDocument/2006/relationships/hyperlink" Target="https://docs.microsoft.com/en-us/azure/sql-database/sql-database-manage-single-databases-portal" TargetMode="External"/><Relationship Id="rId4" Type="http://schemas.openxmlformats.org/officeDocument/2006/relationships/hyperlink" Target="https://msdn.microsoft.com/en-us/library/dn270022.aspx" TargetMode="Externa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azure.microsoft.com/en-us/documentation/articles/sql-database-service-tiers/" TargetMode="External"/><Relationship Id="rId2" Type="http://schemas.openxmlformats.org/officeDocument/2006/relationships/slide" Target="../slides/slide21.xml"/><Relationship Id="rId1" Type="http://schemas.openxmlformats.org/officeDocument/2006/relationships/notesMaster" Target="../notesMasters/notesMaster1.xml"/><Relationship Id="rId5" Type="http://schemas.openxmlformats.org/officeDocument/2006/relationships/hyperlink" Target="https://docs.microsoft.com/en-us/azure/sql-database/sql-database-manage-single-databases-portal" TargetMode="External"/><Relationship Id="rId4" Type="http://schemas.openxmlformats.org/officeDocument/2006/relationships/hyperlink" Target="https://msdn.microsoft.com/en-us/library/dn270022.aspx" TargetMode="Externa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azure.microsoft.com/en-us/documentation/articles/sql-database-service-tiers/" TargetMode="External"/><Relationship Id="rId2" Type="http://schemas.openxmlformats.org/officeDocument/2006/relationships/slide" Target="../slides/slide22.xml"/><Relationship Id="rId1" Type="http://schemas.openxmlformats.org/officeDocument/2006/relationships/notesMaster" Target="../notesMasters/notesMaster1.xml"/><Relationship Id="rId5" Type="http://schemas.openxmlformats.org/officeDocument/2006/relationships/hyperlink" Target="https://docs.microsoft.com/en-us/azure/sql-database/sql-database-manage-single-databases-portal" TargetMode="External"/><Relationship Id="rId4" Type="http://schemas.openxmlformats.org/officeDocument/2006/relationships/hyperlink" Target="https://msdn.microsoft.com/en-us/library/dn270022.aspx" TargetMode="Externa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docs.microsoft.com/en-us/azure/sql-database/sql-database-geo-replication-portal" TargetMode="External"/><Relationship Id="rId2" Type="http://schemas.openxmlformats.org/officeDocument/2006/relationships/slide" Target="../slides/slide24.xml"/><Relationship Id="rId1" Type="http://schemas.openxmlformats.org/officeDocument/2006/relationships/notesMaster" Target="../notesMasters/notesMaster1.xml"/><Relationship Id="rId5" Type="http://schemas.openxmlformats.org/officeDocument/2006/relationships/hyperlink" Target="https://docs.microsoft.com/en-us/azure/sql-database/sql-database-business-continuity" TargetMode="External"/><Relationship Id="rId4" Type="http://schemas.openxmlformats.org/officeDocument/2006/relationships/hyperlink" Target="https://docs.microsoft.com/en-us/azure/sql-database/sql-database-disaster-recovery"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portal.azure.com/"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azure.microsoft.com/en-us/documentation/articles/sql-database-service-tiers/"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docs.microsoft.com/en-us/azure/sql-database/elastic-jobs-powershell" TargetMode="External"/><Relationship Id="rId2" Type="http://schemas.openxmlformats.org/officeDocument/2006/relationships/slide" Target="../slides/slide34.xml"/><Relationship Id="rId1" Type="http://schemas.openxmlformats.org/officeDocument/2006/relationships/notesMaster" Target="../notesMasters/notesMaster1.xml"/><Relationship Id="rId4" Type="http://schemas.openxmlformats.org/officeDocument/2006/relationships/hyperlink" Target="https://docs.microsoft.com/en-us/azure/sql-database/elastic-jobs-overview#job-database" TargetMode="Externa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docs.microsoft.com/en-us/sql/t-sql/statements/create-database-scoped-credential-transact-sql" TargetMode="External"/><Relationship Id="rId2" Type="http://schemas.openxmlformats.org/officeDocument/2006/relationships/slide" Target="../slides/slide35.xml"/><Relationship Id="rId1" Type="http://schemas.openxmlformats.org/officeDocument/2006/relationships/notesMaster" Target="../notesMasters/notesMaster1.xml"/><Relationship Id="rId4" Type="http://schemas.openxmlformats.org/officeDocument/2006/relationships/hyperlink" Target="https://docs.microsoft.com/sql/relational-databases/security/permissions-database-engine"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devjef.wordpress.com/2016/08/22/running-maintenance-on-azure-sql-databases/" TargetMode="External"/><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azure.microsoft.com/en-us/blog/azure-automation-your-sql-agent-in-the-cloud/" TargetMode="External"/><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blogs.technet.microsoft.com/uktechnet/2016/02/05/is-sql-server-agent-missing-from-azure-sql-database/" TargetMode="External"/><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docs.microsoft.com/en-us/azure/sql-database/sql-database-single-databases-manage"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docs.microsoft.com/en-us/azure/sql-database/sql-database-single-databases-manage#transact-sql-manage-sql-database-servers-and-single-databases"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s://docs.microsoft.com/en-us/azure/sql-database/sql-database-single-databases-manage#rest-api-manage-sql-database-servers-and-single-databases" TargetMode="Externa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ocs.microsoft.com/en-us/azure/sql-database/sql-database-manage-portal"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5</a:t>
            </a:fld>
            <a:endParaRPr lang="en-US" noProof="0" dirty="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1/17/2022</a:t>
            </a:fld>
            <a:endParaRPr lang="en-US" dirty="0"/>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nl-BE" dirty="0"/>
              <a:t>In this lesson we will be covering the various tools used to manage an Azure SQL Database.</a:t>
            </a:r>
          </a:p>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2676444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14</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1/17/2022</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4814905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Q1: </a:t>
            </a:r>
            <a:r>
              <a:rPr lang="en-US" sz="800" dirty="0">
                <a:solidFill>
                  <a:srgbClr val="FFFFFF"/>
                </a:solidFill>
              </a:rPr>
              <a:t>What are the different tools that you can use to manage your Azure SQL Database?</a:t>
            </a:r>
            <a:endParaRPr kumimoji="0" lang="en-US" sz="800" b="0" i="0" u="none" strike="noStrike" kern="1200" cap="none" spc="0" normalizeH="0" baseline="0" noProof="0" dirty="0">
              <a:ln>
                <a:noFill/>
              </a:ln>
              <a:solidFill>
                <a:srgbClr val="FFFFFF"/>
              </a:solidFill>
              <a:effectLst/>
              <a:uLnTx/>
              <a:uFillTx/>
              <a:latin typeface="+mn-lt"/>
              <a:ea typeface="+mn-ea"/>
              <a:cs typeface="+mn-cs"/>
            </a:endParaRPr>
          </a:p>
          <a:p>
            <a:r>
              <a:rPr lang="en-US" dirty="0"/>
              <a:t>Answer 1</a:t>
            </a:r>
            <a:r>
              <a:rPr lang="en-US" baseline="0" dirty="0"/>
              <a:t>: </a:t>
            </a:r>
          </a:p>
          <a:p>
            <a:r>
              <a:rPr lang="en-US" b="1" baseline="0" dirty="0"/>
              <a:t>Azure Portal, SSMS, SSDT, CLI and PowerShell.</a:t>
            </a:r>
          </a:p>
          <a:p>
            <a:endParaRPr lang="en-US" baseline="0" dirty="0"/>
          </a:p>
          <a:p>
            <a:pPr marL="0" indent="0">
              <a:buFont typeface="Arial" panose="020B0604020202020204" pitchFamily="34" charset="0"/>
              <a:buNone/>
            </a:pPr>
            <a:r>
              <a:rPr lang="en-US" baseline="0" dirty="0"/>
              <a:t>Q2: </a:t>
            </a:r>
            <a:r>
              <a:rPr lang="en-US" sz="800" dirty="0">
                <a:solidFill>
                  <a:srgbClr val="FFFFFF"/>
                </a:solidFill>
              </a:rPr>
              <a:t>What is the main recommendation to connect to Azure SQL databases regarding the version of the tools? </a:t>
            </a:r>
            <a:endParaRPr kumimoji="0" lang="en-US" sz="800" b="0" i="0" u="none" strike="noStrike" kern="1200" cap="none" spc="0" normalizeH="0" baseline="0" noProof="0" dirty="0">
              <a:ln>
                <a:noFill/>
              </a:ln>
              <a:solidFill>
                <a:srgbClr val="505050"/>
              </a:solidFill>
              <a:effectLst/>
              <a:uLnTx/>
              <a:uFillTx/>
              <a:latin typeface="+mn-lt"/>
              <a:ea typeface="+mn-ea"/>
              <a:cs typeface="+mn-cs"/>
            </a:endParaRPr>
          </a:p>
          <a:p>
            <a:r>
              <a:rPr lang="en-US" baseline="0" dirty="0"/>
              <a:t>Answer 2: </a:t>
            </a:r>
          </a:p>
          <a:p>
            <a:r>
              <a:rPr lang="en-US" b="1" baseline="0" dirty="0"/>
              <a:t>Always use the latest version.</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5</a:t>
            </a:fld>
            <a:endParaRPr lang="en-US" noProof="0"/>
          </a:p>
        </p:txBody>
      </p:sp>
    </p:spTree>
    <p:extLst>
      <p:ext uri="{BB962C8B-B14F-4D97-AF65-F5344CB8AC3E}">
        <p14:creationId xmlns:p14="http://schemas.microsoft.com/office/powerpoint/2010/main" val="1195724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202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2260221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lnSpc>
                <a:spcPct val="107000"/>
              </a:lnSpc>
              <a:spcBef>
                <a:spcPts val="1223"/>
              </a:spcBef>
              <a:defRPr/>
            </a:pPr>
            <a:r>
              <a:rPr lang="en-US" sz="800" b="1" kern="0" dirty="0">
                <a:solidFill>
                  <a:srgbClr val="2E74B5"/>
                </a:solidFill>
                <a:ea typeface="Times New Roman" panose="02020603050405020304" pitchFamily="18" charset="0"/>
                <a:cs typeface="Times New Roman" panose="02020603050405020304" pitchFamily="18" charset="0"/>
              </a:rPr>
              <a:t>Scales performance on the fly, without app downtime.</a:t>
            </a:r>
          </a:p>
          <a:p>
            <a:pPr defTabSz="931774">
              <a:lnSpc>
                <a:spcPct val="107000"/>
              </a:lnSpc>
              <a:spcAft>
                <a:spcPts val="815"/>
              </a:spcAft>
              <a:defRPr/>
            </a:pPr>
            <a:r>
              <a:rPr lang="en-US" sz="800" dirty="0">
                <a:solidFill>
                  <a:prstClr val="black"/>
                </a:solidFill>
                <a:ea typeface="Calibri" panose="020F0502020204030204" pitchFamily="34" charset="0"/>
                <a:cs typeface="Times New Roman" panose="02020603050405020304" pitchFamily="18" charset="0"/>
              </a:rPr>
              <a:t>When demand for your app grows from a handful of devices and customers to millions, SQL Database is the only service that can scale along with you, on the fly, with no app downtime. </a:t>
            </a:r>
          </a:p>
          <a:p>
            <a:pPr marL="349415" indent="-349415" defTabSz="931774">
              <a:lnSpc>
                <a:spcPct val="105000"/>
              </a:lnSpc>
              <a:buFont typeface="Symbol" panose="05050102010706020507" pitchFamily="18" charset="2"/>
              <a:buChar char=""/>
              <a:defRPr/>
            </a:pPr>
            <a:r>
              <a:rPr lang="en-US" sz="800" b="1" dirty="0">
                <a:solidFill>
                  <a:prstClr val="black"/>
                </a:solidFill>
                <a:ea typeface="Calibri" panose="020F0502020204030204" pitchFamily="34" charset="0"/>
                <a:cs typeface="Times New Roman" panose="02020603050405020304" pitchFamily="18" charset="0"/>
              </a:rPr>
              <a:t>Scale on the fly.</a:t>
            </a:r>
            <a:r>
              <a:rPr lang="en-US" sz="800" dirty="0">
                <a:solidFill>
                  <a:prstClr val="black"/>
                </a:solidFill>
                <a:ea typeface="Calibri" panose="020F0502020204030204" pitchFamily="34" charset="0"/>
                <a:cs typeface="Times New Roman" panose="02020603050405020304" pitchFamily="18" charset="0"/>
              </a:rPr>
              <a:t> With one mouse click in the Portal or a single API call, scale up the resources provided to your app to accommodate growth periods or peak workload demand. </a:t>
            </a:r>
          </a:p>
          <a:p>
            <a:pPr marL="349415" indent="-349415">
              <a:lnSpc>
                <a:spcPct val="105000"/>
              </a:lnSpc>
              <a:spcAft>
                <a:spcPts val="815"/>
              </a:spcAft>
              <a:buFont typeface="Segoe UI" panose="020B0502040204020203" pitchFamily="34" charset="0"/>
              <a:buChar char="•"/>
            </a:pPr>
            <a:r>
              <a:rPr lang="en-US" sz="800" b="1" dirty="0">
                <a:ea typeface="Calibri" panose="020F0502020204030204" pitchFamily="34" charset="0"/>
                <a:cs typeface="Times New Roman" panose="02020603050405020304" pitchFamily="18" charset="0"/>
              </a:rPr>
              <a:t>Pay for what you need. </a:t>
            </a:r>
            <a:r>
              <a:rPr lang="en-US" sz="800" dirty="0">
                <a:ea typeface="Calibri" panose="020F0502020204030204" pitchFamily="34" charset="0"/>
                <a:cs typeface="Times New Roman" panose="02020603050405020304" pitchFamily="18" charset="0"/>
              </a:rPr>
              <a:t>Remove the guesswork and commitment of buying infrastructure to support the performance goals for your app. Only pay for the performance you need, when you need it. </a:t>
            </a:r>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8</a:t>
            </a:fld>
            <a:endParaRPr lang="en-US" noProof="0"/>
          </a:p>
        </p:txBody>
      </p:sp>
    </p:spTree>
    <p:extLst>
      <p:ext uri="{BB962C8B-B14F-4D97-AF65-F5344CB8AC3E}">
        <p14:creationId xmlns:p14="http://schemas.microsoft.com/office/powerpoint/2010/main" val="37669353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800" dirty="0"/>
              <a:t>Vertical scaling refers to increasing or decreasing the performance level of an individual database</a:t>
            </a:r>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9</a:t>
            </a:fld>
            <a:endParaRPr lang="en-US" noProof="0"/>
          </a:p>
        </p:txBody>
      </p:sp>
    </p:spTree>
    <p:extLst>
      <p:ext uri="{BB962C8B-B14F-4D97-AF65-F5344CB8AC3E}">
        <p14:creationId xmlns:p14="http://schemas.microsoft.com/office/powerpoint/2010/main" val="21384170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can change the </a:t>
            </a:r>
            <a:r>
              <a:rPr lang="en-US" dirty="0">
                <a:hlinkClick r:id="rId3"/>
              </a:rPr>
              <a:t>service tier and performance level</a:t>
            </a:r>
            <a:r>
              <a:rPr lang="en-US" dirty="0"/>
              <a:t> of your SQL database with the Azure portal, PowerShell (using the Set-</a:t>
            </a:r>
            <a:r>
              <a:rPr lang="en-US" dirty="0" err="1"/>
              <a:t>AzureSqlRmDatabase</a:t>
            </a:r>
            <a:r>
              <a:rPr lang="en-US" dirty="0"/>
              <a:t> cmdlet), the Service Management REST API (using the Update Database command), or Transact-SQL (via the ALTER DATABASE statement).  You can use </a:t>
            </a:r>
            <a:r>
              <a:rPr lang="en-US" dirty="0">
                <a:hlinkClick r:id="rId4"/>
              </a:rPr>
              <a:t>DMVs</a:t>
            </a:r>
            <a:r>
              <a:rPr lang="en-US" dirty="0"/>
              <a:t> to monitor the progress of the upgrade operation for a database.  This allows you to easily scale up or down a database, and it will remain online and available during the entire operation with no downtime.</a:t>
            </a:r>
          </a:p>
          <a:p>
            <a:endParaRPr lang="en-US" dirty="0">
              <a:hlinkClick r:id="" action="ppaction://noaction"/>
            </a:endParaRPr>
          </a:p>
          <a:p>
            <a:endParaRPr lang="en-US" dirty="0">
              <a:hlinkClick r:id="" action="ppaction://noaction"/>
            </a:endParaRPr>
          </a:p>
          <a:p>
            <a:endParaRPr lang="en-US" dirty="0">
              <a:hlinkClick r:id="" action="ppaction://noaction"/>
            </a:endParaRPr>
          </a:p>
          <a:p>
            <a:r>
              <a:rPr lang="en-US" dirty="0">
                <a:hlinkClick r:id="" action="ppaction://noaction"/>
              </a:rPr>
              <a:t>https://docs.microsoft.com/en-us/azure/sql-database/sql-database-manage-single-databases-powershell</a:t>
            </a:r>
            <a:endParaRPr lang="en-US" dirty="0"/>
          </a:p>
          <a:p>
            <a:endParaRPr lang="en-US" dirty="0"/>
          </a:p>
          <a:p>
            <a:r>
              <a:rPr lang="en-US" dirty="0">
                <a:hlinkClick r:id="rId5"/>
              </a:rPr>
              <a:t>https://docs.microsoft.com/en-us/azure/sql-database/sql-database-manage-single-databases-portal</a:t>
            </a:r>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0</a:t>
            </a:fld>
            <a:endParaRPr lang="en-US" noProof="0"/>
          </a:p>
        </p:txBody>
      </p:sp>
    </p:spTree>
    <p:extLst>
      <p:ext uri="{BB962C8B-B14F-4D97-AF65-F5344CB8AC3E}">
        <p14:creationId xmlns:p14="http://schemas.microsoft.com/office/powerpoint/2010/main" val="3479920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can change the </a:t>
            </a:r>
            <a:r>
              <a:rPr lang="en-US" dirty="0">
                <a:hlinkClick r:id="rId3"/>
              </a:rPr>
              <a:t>service tier and performance level</a:t>
            </a:r>
            <a:r>
              <a:rPr lang="en-US" dirty="0"/>
              <a:t> of your SQL database with the Azure portal, PowerShell (using the Set-</a:t>
            </a:r>
            <a:r>
              <a:rPr lang="en-US" dirty="0" err="1"/>
              <a:t>AzureRmSqlDatabase</a:t>
            </a:r>
            <a:r>
              <a:rPr lang="en-US" dirty="0"/>
              <a:t> cmdlet), the Service Management REST API (using the Update Database command), or Transact-SQL (via the ALTER DATABASE statement).  You can use </a:t>
            </a:r>
            <a:r>
              <a:rPr lang="en-US" dirty="0">
                <a:hlinkClick r:id="rId4"/>
              </a:rPr>
              <a:t>DMVs</a:t>
            </a:r>
            <a:r>
              <a:rPr lang="en-US" dirty="0"/>
              <a:t> to monitor the progress of the upgrade operation for a database.  This allows you to easily scale up or down a database, and it will remain online and available during the entire operation with no downtime.</a:t>
            </a:r>
          </a:p>
          <a:p>
            <a:endParaRPr lang="en-US" dirty="0">
              <a:hlinkClick r:id="" action="ppaction://noaction"/>
            </a:endParaRPr>
          </a:p>
          <a:p>
            <a:endParaRPr lang="en-US" dirty="0">
              <a:hlinkClick r:id="" action="ppaction://noaction"/>
            </a:endParaRPr>
          </a:p>
          <a:p>
            <a:endParaRPr lang="en-US" dirty="0">
              <a:hlinkClick r:id="" action="ppaction://noaction"/>
            </a:endParaRPr>
          </a:p>
          <a:p>
            <a:r>
              <a:rPr lang="en-US" dirty="0">
                <a:hlinkClick r:id="" action="ppaction://noaction"/>
              </a:rPr>
              <a:t>https://docs.microsoft.com/en-us/azure/sql-database/sql-database-manage-single-databases-powershell</a:t>
            </a:r>
            <a:endParaRPr lang="en-US" dirty="0"/>
          </a:p>
          <a:p>
            <a:endParaRPr lang="en-US" dirty="0"/>
          </a:p>
          <a:p>
            <a:r>
              <a:rPr lang="en-US" dirty="0">
                <a:hlinkClick r:id="rId5"/>
              </a:rPr>
              <a:t>https://docs.microsoft.com/en-us/azure/sql-database/sql-database-manage-single-databases-portal</a:t>
            </a:r>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1</a:t>
            </a:fld>
            <a:endParaRPr lang="en-US" noProof="0"/>
          </a:p>
        </p:txBody>
      </p:sp>
    </p:spTree>
    <p:extLst>
      <p:ext uri="{BB962C8B-B14F-4D97-AF65-F5344CB8AC3E}">
        <p14:creationId xmlns:p14="http://schemas.microsoft.com/office/powerpoint/2010/main" val="30171977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can change the </a:t>
            </a:r>
            <a:r>
              <a:rPr lang="en-US" dirty="0">
                <a:hlinkClick r:id="rId3"/>
              </a:rPr>
              <a:t>service tier and performance level</a:t>
            </a:r>
            <a:r>
              <a:rPr lang="en-US" dirty="0"/>
              <a:t> of your SQL database with the Azure portal, PowerShell (using the Set-</a:t>
            </a:r>
            <a:r>
              <a:rPr lang="en-US" dirty="0" err="1"/>
              <a:t>AzureRmSqlDatabase</a:t>
            </a:r>
            <a:r>
              <a:rPr lang="en-US" dirty="0"/>
              <a:t> cmdlet), the Service Management REST API (using the Update Database command), or Transact-SQL (via the ALTER DATABASE statement).  You can use </a:t>
            </a:r>
            <a:r>
              <a:rPr lang="en-US" dirty="0">
                <a:hlinkClick r:id="rId4"/>
              </a:rPr>
              <a:t>DMVs</a:t>
            </a:r>
            <a:r>
              <a:rPr lang="en-US" dirty="0"/>
              <a:t> to monitor the progress of the upgrade operation for a database.  This allows you to easily scale up or down a database, and it will remain online and available during the entire operation with no downtime.</a:t>
            </a:r>
          </a:p>
          <a:p>
            <a:endParaRPr lang="en-US" dirty="0">
              <a:hlinkClick r:id="" action="ppaction://noaction"/>
            </a:endParaRPr>
          </a:p>
          <a:p>
            <a:endParaRPr lang="en-US" dirty="0">
              <a:hlinkClick r:id="" action="ppaction://noaction"/>
            </a:endParaRPr>
          </a:p>
          <a:p>
            <a:endParaRPr lang="en-US" dirty="0">
              <a:hlinkClick r:id="" action="ppaction://noaction"/>
            </a:endParaRPr>
          </a:p>
          <a:p>
            <a:r>
              <a:rPr lang="en-US" dirty="0">
                <a:hlinkClick r:id="" action="ppaction://noaction"/>
              </a:rPr>
              <a:t>https://docs.microsoft.com/en-us/azure/sql-database/sql-database-manage-single-databases-powershell</a:t>
            </a:r>
            <a:endParaRPr lang="en-US" dirty="0"/>
          </a:p>
          <a:p>
            <a:endParaRPr lang="en-US" dirty="0"/>
          </a:p>
          <a:p>
            <a:r>
              <a:rPr lang="en-US" dirty="0">
                <a:hlinkClick r:id="rId5"/>
              </a:rPr>
              <a:t>https://docs.microsoft.com/en-us/azure/sql-database/sql-database-manage-single-databases-portal</a:t>
            </a:r>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2</a:t>
            </a:fld>
            <a:endParaRPr lang="en-US" noProof="0"/>
          </a:p>
        </p:txBody>
      </p:sp>
    </p:spTree>
    <p:extLst>
      <p:ext uri="{BB962C8B-B14F-4D97-AF65-F5344CB8AC3E}">
        <p14:creationId xmlns:p14="http://schemas.microsoft.com/office/powerpoint/2010/main" val="25504854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u="none" strike="noStrike" kern="1200" dirty="0">
                <a:solidFill>
                  <a:schemeClr val="tx1"/>
                </a:solidFill>
                <a:effectLst/>
                <a:latin typeface="Segoe UI Light" pitchFamily="34" charset="0"/>
                <a:ea typeface="+mn-ea"/>
                <a:cs typeface="+mn-cs"/>
              </a:rPr>
              <a:t>Changing the service tier and/or performance level of a database creates a replica of the original database at the new performance level, and then switches connections over to the replica. No data is lost during this process but during the brief moment when we switch over to the replica, connections to the database are disabled, so some transactions in flight may be rolled back. The length of time for the switch-over varies, but is less than 30 seconds 99% of the time. If there are large numbers of transactions in flight at the moment connections are disabled, the length of time for the switch-over may be longer. </a:t>
            </a:r>
          </a:p>
          <a:p>
            <a:r>
              <a:rPr lang="en-US" sz="800" b="0" i="0" u="none" strike="noStrike" kern="1200" dirty="0">
                <a:solidFill>
                  <a:schemeClr val="tx1"/>
                </a:solidFill>
                <a:effectLst/>
                <a:latin typeface="Segoe UI Light" pitchFamily="34" charset="0"/>
                <a:ea typeface="+mn-ea"/>
                <a:cs typeface="+mn-cs"/>
              </a:rPr>
              <a:t>The duration of the entire scale-up process depends on both the size and service tier of the database before and after the change. For example, a 250-GB database that is changing to, from, or within a Standard service tier, should complete within six hours. For a database the same size that is changing performance levels within the Premium service tier, the scale-up should complete within three hours.</a:t>
            </a:r>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3</a:t>
            </a:fld>
            <a:endParaRPr lang="en-US" noProof="0"/>
          </a:p>
        </p:txBody>
      </p:sp>
    </p:spTree>
    <p:extLst>
      <p:ext uri="{BB962C8B-B14F-4D97-AF65-F5344CB8AC3E}">
        <p14:creationId xmlns:p14="http://schemas.microsoft.com/office/powerpoint/2010/main" val="12083829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duration of the entire scale-up process depends on both the size and service tier of the database before and after the change. For example, a 250 GB database that is changing to, from, or within a Standard service tier, should complete within 6 hours. For a database of the same size that is changing performance levels within the Premium service tier, it should complete within 3 hours.</a:t>
            </a:r>
          </a:p>
          <a:p>
            <a:r>
              <a:rPr lang="en-US" dirty="0"/>
              <a:t>o downgrade a database, the database should be smaller than the maximum allowed size of the target service tier.</a:t>
            </a:r>
          </a:p>
          <a:p>
            <a:r>
              <a:rPr lang="en-US" dirty="0"/>
              <a:t>When upgrading a database with </a:t>
            </a:r>
            <a:r>
              <a:rPr lang="en-US" dirty="0">
                <a:hlinkClick r:id="rId3"/>
              </a:rPr>
              <a:t>Geo-Replication</a:t>
            </a:r>
            <a:r>
              <a:rPr lang="en-US" dirty="0"/>
              <a:t> enabled, you must first upgrade its secondary databases to the desired performance tier before upgrading the primary database.</a:t>
            </a:r>
          </a:p>
          <a:p>
            <a:r>
              <a:rPr lang="en-US" dirty="0"/>
              <a:t>When downgrading from a Premium service tier, you must first terminate all Geo-Replication relationships. You can follow the steps described in the </a:t>
            </a:r>
            <a:r>
              <a:rPr lang="en-US" dirty="0">
                <a:hlinkClick r:id="rId4"/>
              </a:rPr>
              <a:t>Recover from an outage</a:t>
            </a:r>
            <a:r>
              <a:rPr lang="en-US" dirty="0"/>
              <a:t> topic to stop the replication process between the primary and the active secondary databases.</a:t>
            </a:r>
          </a:p>
          <a:p>
            <a:r>
              <a:rPr lang="en-US" dirty="0"/>
              <a:t>The restore service offerings are different for the various service tiers. If you are downgrading you may lose the ability to restore to a point in time, or have a lower backup retention period. For more information, see </a:t>
            </a:r>
            <a:r>
              <a:rPr lang="en-US" dirty="0">
                <a:hlinkClick r:id="rId5"/>
              </a:rPr>
              <a:t>Azure SQL Database Backup and Restore</a:t>
            </a:r>
            <a:r>
              <a:rPr lang="en-US" dirty="0"/>
              <a:t>.</a:t>
            </a:r>
          </a:p>
          <a:p>
            <a:r>
              <a:rPr lang="en-US" dirty="0"/>
              <a:t>The new properties for the database are not applied until the changes are complete.</a:t>
            </a:r>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4</a:t>
            </a:fld>
            <a:endParaRPr lang="en-US" noProof="0"/>
          </a:p>
        </p:txBody>
      </p:sp>
    </p:spTree>
    <p:extLst>
      <p:ext uri="{BB962C8B-B14F-4D97-AF65-F5344CB8AC3E}">
        <p14:creationId xmlns:p14="http://schemas.microsoft.com/office/powerpoint/2010/main" val="5162631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can use SQL Server Management Studio (SSMS) by providing your FQDN:</a:t>
            </a:r>
          </a:p>
          <a:p>
            <a:r>
              <a:rPr lang="en-US" b="1" dirty="0"/>
              <a:t>&lt;Server name&gt;.database.windows.net</a:t>
            </a:r>
          </a:p>
          <a:p>
            <a:r>
              <a:rPr lang="en-US" dirty="0"/>
              <a:t>And providing a valid Login and Password. </a:t>
            </a:r>
          </a:p>
          <a:p>
            <a:endParaRPr lang="en-US" dirty="0"/>
          </a:p>
          <a:p>
            <a:r>
              <a:rPr lang="en-US" dirty="0"/>
              <a:t>Always use the latest version of SSMS because it is continually improved to work with the latest updates to Azure and SQL Database. Some old versions of management cannot connect to a SQL Azure database.</a:t>
            </a:r>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6</a:t>
            </a:fld>
            <a:endParaRPr lang="en-US" noProof="0"/>
          </a:p>
        </p:txBody>
      </p:sp>
    </p:spTree>
    <p:extLst>
      <p:ext uri="{BB962C8B-B14F-4D97-AF65-F5344CB8AC3E}">
        <p14:creationId xmlns:p14="http://schemas.microsoft.com/office/powerpoint/2010/main" val="26535813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202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1800" dirty="0">
                <a:solidFill>
                  <a:srgbClr val="000000"/>
                </a:solidFill>
                <a:latin typeface="Consolas" panose="020B0609020204030204" pitchFamily="49" charset="0"/>
              </a:rPr>
              <a:t>M02L02Demo01</a:t>
            </a:r>
          </a:p>
          <a:p>
            <a:endParaRPr lang="en-US" b="1" dirty="0"/>
          </a:p>
          <a:p>
            <a:r>
              <a:rPr lang="en-US" b="1" dirty="0"/>
              <a:t>Demo setup instructions</a:t>
            </a:r>
          </a:p>
          <a:p>
            <a:pPr marL="171450" indent="-171450">
              <a:buFont typeface="Arial" panose="020B0604020202020204" pitchFamily="34" charset="0"/>
              <a:buChar char="•"/>
            </a:pPr>
            <a:r>
              <a:rPr lang="en-US" dirty="0"/>
              <a:t>Make sure you have created the </a:t>
            </a:r>
            <a:r>
              <a:rPr lang="en-US" dirty="0" err="1"/>
              <a:t>salesdb</a:t>
            </a:r>
            <a:r>
              <a:rPr lang="en-US" dirty="0"/>
              <a:t> from Module 1.</a:t>
            </a:r>
          </a:p>
          <a:p>
            <a:pPr marL="171450" indent="-171450">
              <a:buFont typeface="Arial" panose="020B0604020202020204" pitchFamily="34" charset="0"/>
              <a:buChar char="•"/>
            </a:pPr>
            <a:endParaRPr lang="en-US" dirty="0"/>
          </a:p>
          <a:p>
            <a:pPr marL="0" indent="0">
              <a:buFont typeface="Arial" panose="020B0604020202020204" pitchFamily="34" charset="0"/>
              <a:buNone/>
            </a:pPr>
            <a:r>
              <a:rPr lang="en-US" b="1" dirty="0"/>
              <a:t>Steps</a:t>
            </a:r>
          </a:p>
          <a:p>
            <a:pPr marL="0" indent="0">
              <a:buFont typeface="Arial" panose="020B0604020202020204" pitchFamily="34" charset="0"/>
              <a:buNone/>
            </a:pPr>
            <a:r>
              <a:rPr lang="en-US" dirty="0"/>
              <a:t>Open the SQL Database blade for the database you want to scale up or down:</a:t>
            </a:r>
          </a:p>
          <a:p>
            <a:pPr marL="228600" indent="-228600">
              <a:buFont typeface="+mj-lt"/>
              <a:buAutoNum type="arabicPeriod"/>
            </a:pPr>
            <a:r>
              <a:rPr lang="en-US" dirty="0"/>
              <a:t>Go to the </a:t>
            </a:r>
            <a:r>
              <a:rPr lang="en-US" u="sng" dirty="0">
                <a:hlinkClick r:id="rId3"/>
              </a:rPr>
              <a:t>Azure portal</a:t>
            </a:r>
            <a:r>
              <a:rPr lang="en-US" dirty="0"/>
              <a:t>.</a:t>
            </a:r>
          </a:p>
          <a:p>
            <a:pPr marL="228600" indent="-228600">
              <a:buFont typeface="+mj-lt"/>
              <a:buAutoNum type="arabicPeriod"/>
            </a:pPr>
            <a:r>
              <a:rPr lang="en-US" dirty="0"/>
              <a:t>Click </a:t>
            </a:r>
            <a:r>
              <a:rPr lang="en-US" b="1" dirty="0"/>
              <a:t>BROWSE ALL</a:t>
            </a:r>
            <a:r>
              <a:rPr lang="en-US" dirty="0"/>
              <a:t>.</a:t>
            </a:r>
          </a:p>
          <a:p>
            <a:pPr marL="228600" indent="-228600">
              <a:buFont typeface="+mj-lt"/>
              <a:buAutoNum type="arabicPeriod"/>
            </a:pPr>
            <a:r>
              <a:rPr lang="en-US" dirty="0"/>
              <a:t>Click </a:t>
            </a:r>
            <a:r>
              <a:rPr lang="en-US" b="1" dirty="0"/>
              <a:t>SQL databases</a:t>
            </a:r>
            <a:r>
              <a:rPr lang="en-US" dirty="0"/>
              <a:t>.</a:t>
            </a:r>
          </a:p>
          <a:p>
            <a:pPr marL="228600" indent="-228600">
              <a:buFont typeface="+mj-lt"/>
              <a:buAutoNum type="arabicPeriod"/>
            </a:pPr>
            <a:r>
              <a:rPr lang="en-US" dirty="0"/>
              <a:t>Click the database you want to change. (</a:t>
            </a:r>
            <a:r>
              <a:rPr lang="en-US" dirty="0" err="1"/>
              <a:t>SalesDB</a:t>
            </a:r>
            <a:r>
              <a:rPr lang="en-US" dirty="0"/>
              <a:t>)</a:t>
            </a:r>
          </a:p>
          <a:p>
            <a:pPr marL="228600" indent="-228600">
              <a:buFont typeface="+mj-lt"/>
              <a:buAutoNum type="arabicPeriod"/>
            </a:pPr>
            <a:r>
              <a:rPr lang="en-US" dirty="0"/>
              <a:t>On the SQL Database blade click S</a:t>
            </a:r>
            <a:r>
              <a:rPr lang="en-US" b="1" dirty="0"/>
              <a:t>ettings</a:t>
            </a:r>
            <a:r>
              <a:rPr lang="en-US" dirty="0"/>
              <a:t>, then click </a:t>
            </a:r>
            <a:r>
              <a:rPr lang="en-US" b="1" dirty="0"/>
              <a:t>Configure</a:t>
            </a:r>
            <a:endParaRPr lang="en-US" dirty="0"/>
          </a:p>
          <a:p>
            <a:pPr marL="228600" indent="-228600">
              <a:buFont typeface="+mj-lt"/>
              <a:buAutoNum type="arabicPeriod"/>
            </a:pPr>
            <a:r>
              <a:rPr lang="en-US" dirty="0"/>
              <a:t>Select a new tier and click </a:t>
            </a:r>
            <a:r>
              <a:rPr lang="en-US" b="1" dirty="0"/>
              <a:t>Select. </a:t>
            </a:r>
            <a:r>
              <a:rPr lang="en-US" b="0" dirty="0"/>
              <a:t>You can also show that you can change the DTU model to </a:t>
            </a:r>
            <a:r>
              <a:rPr lang="en-US" b="0" dirty="0" err="1"/>
              <a:t>vCore</a:t>
            </a:r>
            <a:r>
              <a:rPr lang="en-US" b="0" dirty="0"/>
              <a:t> model</a:t>
            </a:r>
            <a:endParaRPr lang="en-US" dirty="0"/>
          </a:p>
          <a:p>
            <a:pPr marL="228600" indent="-228600">
              <a:buFont typeface="+mj-lt"/>
              <a:buAutoNum type="arabicPeriod"/>
            </a:pPr>
            <a:r>
              <a:rPr lang="en-US" dirty="0"/>
              <a:t>Clicking </a:t>
            </a:r>
            <a:r>
              <a:rPr lang="en-US" b="1" dirty="0"/>
              <a:t>Apply</a:t>
            </a:r>
            <a:r>
              <a:rPr lang="en-US" dirty="0"/>
              <a:t> submits a scale request to change the database tier. </a:t>
            </a:r>
          </a:p>
          <a:p>
            <a:pPr marL="228600" indent="-228600">
              <a:buFont typeface="+mj-lt"/>
              <a:buAutoNum type="arabicPeriod"/>
            </a:pPr>
            <a:endParaRPr lang="en-US" dirty="0"/>
          </a:p>
          <a:p>
            <a:r>
              <a:rPr lang="en-US" dirty="0"/>
              <a:t>Verify the database is at the selected pricing tier</a:t>
            </a:r>
          </a:p>
          <a:p>
            <a:pPr marL="228600" indent="-228600">
              <a:buFont typeface="+mj-lt"/>
              <a:buAutoNum type="arabicPeriod"/>
            </a:pPr>
            <a:r>
              <a:rPr lang="en-US" dirty="0"/>
              <a:t>After the scaling operation is complete inspect and confirm the database is at the desired tier:</a:t>
            </a:r>
          </a:p>
          <a:p>
            <a:pPr marL="228600" indent="-228600">
              <a:buFont typeface="+mj-lt"/>
              <a:buAutoNum type="arabicPeriod"/>
            </a:pPr>
            <a:r>
              <a:rPr lang="en-US" dirty="0"/>
              <a:t>Click </a:t>
            </a:r>
            <a:r>
              <a:rPr lang="en-US" b="1" dirty="0"/>
              <a:t>BROWSE ALL</a:t>
            </a:r>
            <a:r>
              <a:rPr lang="en-US" dirty="0"/>
              <a:t>.</a:t>
            </a:r>
          </a:p>
          <a:p>
            <a:pPr marL="228600" indent="-228600">
              <a:buFont typeface="+mj-lt"/>
              <a:buAutoNum type="arabicPeriod"/>
            </a:pPr>
            <a:r>
              <a:rPr lang="en-US" dirty="0"/>
              <a:t>Click </a:t>
            </a:r>
            <a:r>
              <a:rPr lang="en-US" b="1" dirty="0"/>
              <a:t>SQL databases</a:t>
            </a:r>
            <a:r>
              <a:rPr lang="en-US" dirty="0"/>
              <a:t>.</a:t>
            </a:r>
          </a:p>
          <a:p>
            <a:pPr marL="228600" indent="-228600">
              <a:buFont typeface="+mj-lt"/>
              <a:buAutoNum type="arabicPeriod"/>
            </a:pPr>
            <a:r>
              <a:rPr lang="en-US" dirty="0"/>
              <a:t>Click the database you updated.</a:t>
            </a:r>
          </a:p>
          <a:p>
            <a:pPr marL="228600" indent="-228600">
              <a:buFont typeface="+mj-lt"/>
              <a:buAutoNum type="arabicPeriod"/>
            </a:pPr>
            <a:r>
              <a:rPr lang="en-US" dirty="0"/>
              <a:t>Check the </a:t>
            </a:r>
            <a:r>
              <a:rPr lang="en-US" b="1" dirty="0"/>
              <a:t>Pricing tier</a:t>
            </a:r>
            <a:r>
              <a:rPr lang="en-US" dirty="0"/>
              <a:t> and confirm it is set to the correct tier.</a:t>
            </a:r>
          </a:p>
          <a:p>
            <a:pPr marL="0" indent="0">
              <a:buFont typeface="+mj-lt"/>
              <a:buNone/>
            </a:pPr>
            <a:endParaRPr lang="en-US" dirty="0"/>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6247232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1800" dirty="0">
                <a:solidFill>
                  <a:srgbClr val="000000"/>
                </a:solidFill>
                <a:latin typeface="Consolas" panose="020B0609020204030204" pitchFamily="49" charset="0"/>
              </a:rPr>
              <a:t>M02L02Lab01</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376959479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202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919442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Question 1: </a:t>
            </a:r>
            <a:r>
              <a:rPr lang="en-US" sz="900" dirty="0">
                <a:solidFill>
                  <a:srgbClr val="FFFFFF"/>
                </a:solidFill>
              </a:rPr>
              <a:t>True or false: Database will remain offline and unavailable during the scale up\down operation.</a:t>
            </a:r>
            <a:endParaRPr kumimoji="0" lang="EN-US" sz="900" b="0" i="0" u="none" strike="noStrike" kern="1200" cap="none" spc="0" normalizeH="0" baseline="0" noProof="0" dirty="0">
              <a:ln>
                <a:noFill/>
              </a:ln>
              <a:solidFill>
                <a:srgbClr val="FFFFFF"/>
              </a:solidFill>
              <a:effectLst/>
              <a:uLnTx/>
              <a:uFillTx/>
              <a:latin typeface="+mn-lt"/>
              <a:ea typeface="+mn-ea"/>
              <a:cs typeface="+mn-cs"/>
            </a:endParaRPr>
          </a:p>
          <a:p>
            <a:r>
              <a:rPr lang="en-US" dirty="0"/>
              <a:t>Answer 1 :</a:t>
            </a:r>
            <a:r>
              <a:rPr lang="en-US" baseline="0" dirty="0"/>
              <a:t> </a:t>
            </a:r>
            <a:r>
              <a:rPr lang="en-US" b="1" baseline="0" dirty="0"/>
              <a:t>False</a:t>
            </a:r>
            <a:r>
              <a:rPr lang="en-US" baseline="0" dirty="0"/>
              <a:t>. </a:t>
            </a:r>
            <a:r>
              <a:rPr lang="en-US" dirty="0"/>
              <a:t>Database will remain online and available during the  scale up\down operation.</a:t>
            </a:r>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Question 2: </a:t>
            </a:r>
            <a:r>
              <a:rPr lang="en-US" sz="900" dirty="0">
                <a:solidFill>
                  <a:srgbClr val="FFFFFF"/>
                </a:solidFill>
              </a:rPr>
              <a:t>What are the various methods to change the performance levels and edit?</a:t>
            </a:r>
            <a:endParaRPr kumimoji="0" lang="en-US" sz="900" b="0" i="0" u="none" strike="noStrike" kern="1200" cap="none" spc="0" normalizeH="0" baseline="0" noProof="0" dirty="0">
              <a:ln>
                <a:noFill/>
              </a:ln>
              <a:solidFill>
                <a:srgbClr val="505050"/>
              </a:solidFill>
              <a:effectLst/>
              <a:uLnTx/>
              <a:uFillTx/>
              <a:latin typeface="+mn-lt"/>
              <a:ea typeface="+mn-ea"/>
              <a:cs typeface="+mn-cs"/>
            </a:endParaRPr>
          </a:p>
          <a:p>
            <a:r>
              <a:rPr lang="en-US" dirty="0"/>
              <a:t>Answer 2: You can change the </a:t>
            </a:r>
            <a:r>
              <a:rPr lang="en-US" sz="900" kern="1200" dirty="0">
                <a:solidFill>
                  <a:schemeClr val="tx1"/>
                </a:solidFill>
                <a:latin typeface="Segoe UI Light" pitchFamily="34" charset="0"/>
                <a:ea typeface="+mn-ea"/>
                <a:cs typeface="+mn-cs"/>
                <a:hlinkClick r:id="rId3"/>
              </a:rPr>
              <a:t>service tier and performance level</a:t>
            </a:r>
            <a:r>
              <a:rPr lang="en-US" sz="900" kern="1200" dirty="0">
                <a:solidFill>
                  <a:schemeClr val="tx1"/>
                </a:solidFill>
                <a:latin typeface="Segoe UI Light" pitchFamily="34" charset="0"/>
                <a:ea typeface="+mn-ea"/>
                <a:cs typeface="+mn-cs"/>
              </a:rPr>
              <a:t> </a:t>
            </a:r>
            <a:r>
              <a:rPr lang="en-US" dirty="0"/>
              <a:t>of your SQL database with the </a:t>
            </a:r>
            <a:r>
              <a:rPr lang="en-US" b="1" dirty="0"/>
              <a:t>Azure portal</a:t>
            </a:r>
            <a:r>
              <a:rPr lang="en-US" dirty="0"/>
              <a:t>, </a:t>
            </a:r>
            <a:r>
              <a:rPr lang="en-US" b="1" dirty="0"/>
              <a:t>PowerShell</a:t>
            </a:r>
            <a:r>
              <a:rPr lang="en-US" dirty="0"/>
              <a:t> (using the Set-</a:t>
            </a:r>
            <a:r>
              <a:rPr lang="en-US" dirty="0" err="1"/>
              <a:t>AzSqlDatabase</a:t>
            </a:r>
            <a:r>
              <a:rPr lang="en-US" dirty="0"/>
              <a:t> cmdlet), the Service Management </a:t>
            </a:r>
            <a:r>
              <a:rPr lang="en-US" b="1" dirty="0"/>
              <a:t>REST API </a:t>
            </a:r>
            <a:r>
              <a:rPr lang="en-US" dirty="0"/>
              <a:t>(using the Update Database command), or </a:t>
            </a:r>
            <a:r>
              <a:rPr lang="en-US" b="1" dirty="0"/>
              <a:t>Transact-SQL</a:t>
            </a:r>
            <a:r>
              <a:rPr lang="en-US" dirty="0"/>
              <a:t> (via the ALTER DATABASE statement). </a:t>
            </a:r>
          </a:p>
          <a:p>
            <a:pPr marL="217262" lvl="1" indent="0">
              <a:buNone/>
            </a:pPr>
            <a:endParaRPr lang="en-AU"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8</a:t>
            </a:fld>
            <a:endParaRPr lang="en-US" noProof="0"/>
          </a:p>
        </p:txBody>
      </p:sp>
    </p:spTree>
    <p:extLst>
      <p:ext uri="{BB962C8B-B14F-4D97-AF65-F5344CB8AC3E}">
        <p14:creationId xmlns:p14="http://schemas.microsoft.com/office/powerpoint/2010/main" val="23477540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202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97616526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st like an on-premises database, you also have to maintain your indexes and statistics because indexes can also get fragmented on an Azure SQL Database.</a:t>
            </a:r>
          </a:p>
          <a:p>
            <a:endParaRPr lang="en-US" dirty="0"/>
          </a:p>
          <a:p>
            <a:r>
              <a:rPr lang="en-US" dirty="0"/>
              <a:t>We don’t currently recommend customers rebuild indexes regularly unless there is a specific performance or resource need to do so. </a:t>
            </a:r>
          </a:p>
          <a:p>
            <a:endParaRPr lang="en-US" dirty="0"/>
          </a:p>
          <a:p>
            <a:r>
              <a:rPr lang="en-US" dirty="0"/>
              <a:t>Note: Though CHECKDB is supported , it is recommended that you don’t run it that often.</a:t>
            </a:r>
          </a:p>
          <a:p>
            <a:endParaRPr lang="en-US" dirty="0"/>
          </a:p>
          <a:p>
            <a:r>
              <a:rPr lang="en-US" dirty="0"/>
              <a:t>Azure SQL DB provides a number of features as part of that service, one of which is that the service providers already have code and people regularly looking for and fixing any corruption issues so that customers  don’t have to.  Microsoft manages the HA system and can automatically detect and fix a number of corruptions without any human approach.</a:t>
            </a:r>
          </a:p>
          <a:p>
            <a:endParaRPr lang="en-US" dirty="0"/>
          </a:p>
          <a:p>
            <a:r>
              <a:rPr lang="en-US" dirty="0" err="1"/>
              <a:t>Checkdb</a:t>
            </a:r>
            <a:r>
              <a:rPr lang="en-US" dirty="0"/>
              <a:t> takes resources from the resource container for which you are paying in Azure SQL DB</a:t>
            </a:r>
          </a:p>
          <a:p>
            <a:endParaRPr lang="en-US" dirty="0"/>
          </a:p>
          <a:p>
            <a:r>
              <a:rPr lang="en-US" dirty="0"/>
              <a:t> </a:t>
            </a:r>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1</a:t>
            </a:fld>
            <a:endParaRPr lang="en-US" noProof="0"/>
          </a:p>
        </p:txBody>
      </p:sp>
    </p:spTree>
    <p:extLst>
      <p:ext uri="{BB962C8B-B14F-4D97-AF65-F5344CB8AC3E}">
        <p14:creationId xmlns:p14="http://schemas.microsoft.com/office/powerpoint/2010/main" val="29899552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1" i="0" u="none" strike="noStrike" kern="1200" dirty="0">
                <a:solidFill>
                  <a:schemeClr val="tx1"/>
                </a:solidFill>
                <a:effectLst/>
                <a:latin typeface="Segoe UI Light" pitchFamily="34" charset="0"/>
                <a:ea typeface="+mn-ea"/>
                <a:cs typeface="+mn-cs"/>
              </a:rPr>
              <a:t>Elastic Database Jobs</a:t>
            </a:r>
            <a:r>
              <a:rPr lang="en-US" sz="800" b="0" i="0" u="none" strike="noStrike" kern="1200" dirty="0">
                <a:solidFill>
                  <a:schemeClr val="tx1"/>
                </a:solidFill>
                <a:effectLst/>
                <a:latin typeface="Segoe UI Light" pitchFamily="34" charset="0"/>
                <a:ea typeface="+mn-ea"/>
                <a:cs typeface="+mn-cs"/>
              </a:rPr>
              <a:t> provide the ability to run one or more T-SQL scripts in parallel, across a large number of databases, on a schedule or on-demand.</a:t>
            </a:r>
          </a:p>
          <a:p>
            <a:r>
              <a:rPr lang="en-US" sz="800" b="1" i="0" u="none" strike="noStrike" kern="1200" dirty="0">
                <a:solidFill>
                  <a:schemeClr val="tx1"/>
                </a:solidFill>
                <a:effectLst/>
                <a:latin typeface="Segoe UI Light" pitchFamily="34" charset="0"/>
                <a:ea typeface="+mn-ea"/>
                <a:cs typeface="+mn-cs"/>
              </a:rPr>
              <a:t>Run jobs against any combination of databases</a:t>
            </a:r>
            <a:r>
              <a:rPr lang="en-US" sz="800" b="0" i="0" u="none" strike="noStrike" kern="1200" dirty="0">
                <a:solidFill>
                  <a:schemeClr val="tx1"/>
                </a:solidFill>
                <a:effectLst/>
                <a:latin typeface="Segoe UI Light" pitchFamily="34" charset="0"/>
                <a:ea typeface="+mn-ea"/>
                <a:cs typeface="+mn-cs"/>
              </a:rPr>
              <a:t>: one or more individual databases, all databases on a server, all databases in an elastic pool, or </a:t>
            </a:r>
            <a:r>
              <a:rPr lang="en-US" sz="800" b="0" i="0" u="none" strike="noStrike" kern="1200" dirty="0" err="1">
                <a:solidFill>
                  <a:schemeClr val="tx1"/>
                </a:solidFill>
                <a:effectLst/>
                <a:latin typeface="Segoe UI Light" pitchFamily="34" charset="0"/>
                <a:ea typeface="+mn-ea"/>
                <a:cs typeface="+mn-cs"/>
              </a:rPr>
              <a:t>shardmap</a:t>
            </a:r>
            <a:r>
              <a:rPr lang="en-US" sz="800" b="0" i="0" u="none" strike="noStrike" kern="1200" dirty="0">
                <a:solidFill>
                  <a:schemeClr val="tx1"/>
                </a:solidFill>
                <a:effectLst/>
                <a:latin typeface="Segoe UI Light" pitchFamily="34" charset="0"/>
                <a:ea typeface="+mn-ea"/>
                <a:cs typeface="+mn-cs"/>
              </a:rPr>
              <a:t>, with the added flexibility to include or exclude any specific database. </a:t>
            </a:r>
            <a:r>
              <a:rPr lang="en-US" sz="800" b="1" i="0" u="none" strike="noStrike" kern="1200" dirty="0">
                <a:solidFill>
                  <a:schemeClr val="tx1"/>
                </a:solidFill>
                <a:effectLst/>
                <a:latin typeface="Segoe UI Light" pitchFamily="34" charset="0"/>
                <a:ea typeface="+mn-ea"/>
                <a:cs typeface="+mn-cs"/>
              </a:rPr>
              <a:t>Jobs can run across multiple servers, multiple pools, and can even run against databases in different subscriptions.</a:t>
            </a:r>
            <a:r>
              <a:rPr lang="en-US" sz="800" b="0" i="0" u="none" strike="noStrike" kern="1200" dirty="0">
                <a:solidFill>
                  <a:schemeClr val="tx1"/>
                </a:solidFill>
                <a:effectLst/>
                <a:latin typeface="Segoe UI Light" pitchFamily="34" charset="0"/>
                <a:ea typeface="+mn-ea"/>
                <a:cs typeface="+mn-cs"/>
              </a:rPr>
              <a:t> Servers and pools are dynamically enumerated at runtime, so jobs run against all databases that exist in the target group at the time of execution.</a:t>
            </a:r>
          </a:p>
          <a:p>
            <a:endParaRPr lang="nl-BE"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2</a:t>
            </a:fld>
            <a:endParaRPr lang="en-US" noProof="0"/>
          </a:p>
        </p:txBody>
      </p:sp>
    </p:spTree>
    <p:extLst>
      <p:ext uri="{BB962C8B-B14F-4D97-AF65-F5344CB8AC3E}">
        <p14:creationId xmlns:p14="http://schemas.microsoft.com/office/powerpoint/2010/main" val="106172983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Manage</a:t>
            </a:r>
          </a:p>
          <a:p>
            <a:pPr marL="171450" indent="-171450">
              <a:buFont typeface="Arial" panose="020B0604020202020204" pitchFamily="34" charset="0"/>
              <a:buChar char="•"/>
            </a:pPr>
            <a:r>
              <a:rPr lang="en-US" sz="800" b="0" i="0" u="none" strike="noStrike" kern="1200" dirty="0">
                <a:solidFill>
                  <a:schemeClr val="tx1"/>
                </a:solidFill>
                <a:effectLst/>
                <a:latin typeface="Segoe UI Light" pitchFamily="34" charset="0"/>
                <a:ea typeface="+mn-ea"/>
                <a:cs typeface="+mn-cs"/>
              </a:rPr>
              <a:t>Schedule administrative tasks to run every weekday, after hours, etc.</a:t>
            </a:r>
          </a:p>
          <a:p>
            <a:pPr marL="171450" indent="-171450">
              <a:buFont typeface="Arial" panose="020B0604020202020204" pitchFamily="34" charset="0"/>
              <a:buChar char="•"/>
            </a:pPr>
            <a:r>
              <a:rPr lang="en-US" sz="800" b="0" i="0" u="none" strike="noStrike" kern="1200" dirty="0">
                <a:solidFill>
                  <a:schemeClr val="tx1"/>
                </a:solidFill>
                <a:effectLst/>
                <a:latin typeface="Segoe UI Light" pitchFamily="34" charset="0"/>
                <a:ea typeface="+mn-ea"/>
                <a:cs typeface="+mn-cs"/>
              </a:rPr>
              <a:t>Deploy schema changes, credentials management, performance data collection or tenant (customer) telemetry collection. Update reference data (information common across all databases).</a:t>
            </a:r>
          </a:p>
          <a:p>
            <a:pPr marL="171450" indent="-171450">
              <a:buFont typeface="Arial" panose="020B0604020202020204" pitchFamily="34" charset="0"/>
              <a:buChar char="•"/>
            </a:pPr>
            <a:r>
              <a:rPr lang="en-US" sz="800" b="0" i="0" u="none" strike="noStrike" kern="1200" dirty="0">
                <a:solidFill>
                  <a:schemeClr val="tx1"/>
                </a:solidFill>
                <a:effectLst/>
                <a:latin typeface="Segoe UI Light" pitchFamily="34" charset="0"/>
                <a:ea typeface="+mn-ea"/>
                <a:cs typeface="+mn-cs"/>
              </a:rPr>
              <a:t>Rebuild indexes to improve query performance. Configure jobs to execute across a collection of databases on a recurring basis, such as during off-peak hours.</a:t>
            </a:r>
          </a:p>
          <a:p>
            <a:pPr marL="171450" indent="-171450">
              <a:buFont typeface="Arial" panose="020B0604020202020204" pitchFamily="34" charset="0"/>
              <a:buChar char="•"/>
            </a:pPr>
            <a:r>
              <a:rPr lang="en-US" sz="800" b="0" i="0" u="none" strike="noStrike" kern="1200" dirty="0">
                <a:solidFill>
                  <a:schemeClr val="tx1"/>
                </a:solidFill>
                <a:effectLst/>
                <a:latin typeface="Segoe UI Light" pitchFamily="34" charset="0"/>
                <a:ea typeface="+mn-ea"/>
                <a:cs typeface="+mn-cs"/>
              </a:rPr>
              <a:t>Collect query results from a set of databases into a central table on an on-going basis. Performance queries can be continually executed and configured to trigger additional tasks to be executed.</a:t>
            </a:r>
          </a:p>
          <a:p>
            <a:endParaRPr lang="en-US" dirty="0"/>
          </a:p>
          <a:p>
            <a:r>
              <a:rPr lang="en-US" b="1" u="sng" dirty="0"/>
              <a:t>Collect data for reporting</a:t>
            </a:r>
          </a:p>
          <a:p>
            <a:r>
              <a:rPr lang="en-US" dirty="0"/>
              <a:t>Aggregate data from a collection of Azure SQL Databases into a single destination table.</a:t>
            </a:r>
          </a:p>
          <a:p>
            <a:endParaRPr lang="en-US" dirty="0"/>
          </a:p>
          <a:p>
            <a:endParaRPr lang="en-US" dirty="0"/>
          </a:p>
          <a:p>
            <a:r>
              <a:rPr lang="en-US" b="1" u="sng" dirty="0"/>
              <a:t>Reduce overhead</a:t>
            </a:r>
          </a:p>
          <a:p>
            <a:r>
              <a:rPr lang="en-US" dirty="0"/>
              <a:t>Normally, you must connect to each database independently in order to run Transact-SQL statements or perform other administrative tasks. A job handles the task of logging in to each database in the target group. You also define, maintain and persist Transact-SQL scripts to be executed across a group of Azure SQL Databases.</a:t>
            </a:r>
          </a:p>
          <a:p>
            <a:r>
              <a:rPr lang="en-US" dirty="0"/>
              <a:t>Accounting</a:t>
            </a:r>
          </a:p>
          <a:p>
            <a:r>
              <a:rPr lang="en-US" dirty="0"/>
              <a:t>Jobs run the script and log the status of execution for each database. You also get automatic retry when failures occur.</a:t>
            </a:r>
          </a:p>
          <a:p>
            <a:endParaRPr lang="en-US" dirty="0"/>
          </a:p>
          <a:p>
            <a:r>
              <a:rPr lang="en-US" b="1" u="sng" dirty="0"/>
              <a:t>Flexibility</a:t>
            </a:r>
          </a:p>
          <a:p>
            <a:r>
              <a:rPr lang="en-US" dirty="0"/>
              <a:t>Define custom groups of Azure SQL Databases, and define schedules for running a job.</a:t>
            </a:r>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3</a:t>
            </a:fld>
            <a:endParaRPr lang="en-US" noProof="0"/>
          </a:p>
        </p:txBody>
      </p:sp>
    </p:spTree>
    <p:extLst>
      <p:ext uri="{BB962C8B-B14F-4D97-AF65-F5344CB8AC3E}">
        <p14:creationId xmlns:p14="http://schemas.microsoft.com/office/powerpoint/2010/main" val="143317818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1" i="0" u="none" strike="noStrike" kern="1200" dirty="0">
                <a:solidFill>
                  <a:schemeClr val="tx1"/>
                </a:solidFill>
                <a:effectLst/>
                <a:latin typeface="Segoe UI Light" pitchFamily="34" charset="0"/>
                <a:ea typeface="+mn-ea"/>
                <a:cs typeface="+mn-cs"/>
              </a:rPr>
              <a:t>Elastic Job agent</a:t>
            </a:r>
          </a:p>
          <a:p>
            <a:r>
              <a:rPr lang="en-US" sz="800" b="0" i="0" u="none" strike="noStrike" kern="1200" dirty="0">
                <a:solidFill>
                  <a:schemeClr val="tx1"/>
                </a:solidFill>
                <a:effectLst/>
                <a:latin typeface="Segoe UI Light" pitchFamily="34" charset="0"/>
                <a:ea typeface="+mn-ea"/>
                <a:cs typeface="+mn-cs"/>
              </a:rPr>
              <a:t>An Elastic Job agent is the Azure resource for creating, running, and managing jobs. The Elastic Job agent is an Azure resource you create in the portal (</a:t>
            </a:r>
            <a:r>
              <a:rPr lang="en-US" sz="800" b="0" i="0" u="sng" strike="noStrike" kern="1200" dirty="0">
                <a:solidFill>
                  <a:schemeClr val="tx1"/>
                </a:solidFill>
                <a:effectLst/>
                <a:latin typeface="Segoe UI Light" pitchFamily="34" charset="0"/>
                <a:ea typeface="+mn-ea"/>
                <a:cs typeface="+mn-cs"/>
                <a:hlinkClick r:id="rId3"/>
              </a:rPr>
              <a:t>PowerShell</a:t>
            </a:r>
            <a:r>
              <a:rPr lang="en-US" sz="800" b="0" i="0" u="none" strike="noStrike" kern="1200" dirty="0">
                <a:solidFill>
                  <a:schemeClr val="tx1"/>
                </a:solidFill>
                <a:effectLst/>
                <a:latin typeface="Segoe UI Light" pitchFamily="34" charset="0"/>
                <a:ea typeface="+mn-ea"/>
                <a:cs typeface="+mn-cs"/>
              </a:rPr>
              <a:t> and REST are also supported). </a:t>
            </a:r>
          </a:p>
          <a:p>
            <a:r>
              <a:rPr lang="en-US" sz="800" b="0" i="0" u="none" strike="noStrike" kern="1200" dirty="0">
                <a:solidFill>
                  <a:schemeClr val="tx1"/>
                </a:solidFill>
                <a:effectLst/>
                <a:latin typeface="Segoe UI Light" pitchFamily="34" charset="0"/>
                <a:ea typeface="+mn-ea"/>
                <a:cs typeface="+mn-cs"/>
              </a:rPr>
              <a:t>Creating an </a:t>
            </a:r>
            <a:r>
              <a:rPr lang="en-US" sz="800" b="1" i="0" u="none" strike="noStrike" kern="1200" dirty="0">
                <a:solidFill>
                  <a:schemeClr val="tx1"/>
                </a:solidFill>
                <a:effectLst/>
                <a:latin typeface="Segoe UI Light" pitchFamily="34" charset="0"/>
                <a:ea typeface="+mn-ea"/>
                <a:cs typeface="+mn-cs"/>
              </a:rPr>
              <a:t>Elastic Job agent</a:t>
            </a:r>
            <a:r>
              <a:rPr lang="en-US" sz="800" b="0" i="0" u="none" strike="noStrike" kern="1200" dirty="0">
                <a:solidFill>
                  <a:schemeClr val="tx1"/>
                </a:solidFill>
                <a:effectLst/>
                <a:latin typeface="Segoe UI Light" pitchFamily="34" charset="0"/>
                <a:ea typeface="+mn-ea"/>
                <a:cs typeface="+mn-cs"/>
              </a:rPr>
              <a:t> requires an existing SQL database. The agent configures this existing database as the </a:t>
            </a:r>
            <a:r>
              <a:rPr lang="en-US" sz="800" b="0" i="1" u="sng" strike="noStrike" kern="1200" dirty="0">
                <a:solidFill>
                  <a:schemeClr val="tx1"/>
                </a:solidFill>
                <a:effectLst/>
                <a:latin typeface="Segoe UI Light" pitchFamily="34" charset="0"/>
                <a:ea typeface="+mn-ea"/>
                <a:cs typeface="+mn-cs"/>
                <a:hlinkClick r:id="rId4"/>
              </a:rPr>
              <a:t>Job database</a:t>
            </a:r>
            <a:r>
              <a:rPr lang="en-US" sz="800" b="0" i="0" u="none" strike="noStrike" kern="1200" dirty="0">
                <a:solidFill>
                  <a:schemeClr val="tx1"/>
                </a:solidFill>
                <a:effectLst/>
                <a:latin typeface="Segoe UI Light" pitchFamily="34" charset="0"/>
                <a:ea typeface="+mn-ea"/>
                <a:cs typeface="+mn-cs"/>
              </a:rPr>
              <a:t>.</a:t>
            </a:r>
          </a:p>
          <a:p>
            <a:r>
              <a:rPr lang="en-US" sz="800" b="0" i="0" u="none" strike="noStrike" kern="1200" dirty="0">
                <a:solidFill>
                  <a:schemeClr val="tx1"/>
                </a:solidFill>
                <a:effectLst/>
                <a:latin typeface="Segoe UI Light" pitchFamily="34" charset="0"/>
                <a:ea typeface="+mn-ea"/>
                <a:cs typeface="+mn-cs"/>
              </a:rPr>
              <a:t>The Elastic Job agent is free. The job database is billed the same rate as any SQL database.</a:t>
            </a:r>
          </a:p>
          <a:p>
            <a:endParaRPr lang="en-US" dirty="0"/>
          </a:p>
          <a:p>
            <a:r>
              <a:rPr lang="en-US" sz="800" b="1" i="0" u="none" strike="noStrike" kern="1200" dirty="0">
                <a:solidFill>
                  <a:schemeClr val="tx1"/>
                </a:solidFill>
                <a:effectLst/>
                <a:latin typeface="Segoe UI Light" pitchFamily="34" charset="0"/>
                <a:ea typeface="+mn-ea"/>
                <a:cs typeface="+mn-cs"/>
              </a:rPr>
              <a:t>Job database</a:t>
            </a:r>
          </a:p>
          <a:p>
            <a:r>
              <a:rPr lang="en-US" sz="800" b="0" i="0" u="none" strike="noStrike" kern="1200" dirty="0">
                <a:solidFill>
                  <a:schemeClr val="tx1"/>
                </a:solidFill>
                <a:effectLst/>
                <a:latin typeface="Segoe UI Light" pitchFamily="34" charset="0"/>
                <a:ea typeface="+mn-ea"/>
                <a:cs typeface="+mn-cs"/>
              </a:rPr>
              <a:t>The </a:t>
            </a:r>
            <a:r>
              <a:rPr lang="en-US" sz="800" b="0" i="1" u="none" strike="noStrike" kern="1200" dirty="0">
                <a:solidFill>
                  <a:schemeClr val="tx1"/>
                </a:solidFill>
                <a:effectLst/>
                <a:latin typeface="Segoe UI Light" pitchFamily="34" charset="0"/>
                <a:ea typeface="+mn-ea"/>
                <a:cs typeface="+mn-cs"/>
              </a:rPr>
              <a:t>Job database</a:t>
            </a:r>
            <a:r>
              <a:rPr lang="en-US" sz="800" b="0" i="0" u="none" strike="noStrike" kern="1200" dirty="0">
                <a:solidFill>
                  <a:schemeClr val="tx1"/>
                </a:solidFill>
                <a:effectLst/>
                <a:latin typeface="Segoe UI Light" pitchFamily="34" charset="0"/>
                <a:ea typeface="+mn-ea"/>
                <a:cs typeface="+mn-cs"/>
              </a:rPr>
              <a:t> is used for defining jobs and tracking the status and history of job executions. The </a:t>
            </a:r>
            <a:r>
              <a:rPr lang="en-US" sz="800" b="0" i="1" u="none" strike="noStrike" kern="1200" dirty="0">
                <a:solidFill>
                  <a:schemeClr val="tx1"/>
                </a:solidFill>
                <a:effectLst/>
                <a:latin typeface="Segoe UI Light" pitchFamily="34" charset="0"/>
                <a:ea typeface="+mn-ea"/>
                <a:cs typeface="+mn-cs"/>
              </a:rPr>
              <a:t>Job database</a:t>
            </a:r>
            <a:r>
              <a:rPr lang="en-US" sz="800" b="0" i="0" u="none" strike="noStrike" kern="1200" dirty="0">
                <a:solidFill>
                  <a:schemeClr val="tx1"/>
                </a:solidFill>
                <a:effectLst/>
                <a:latin typeface="Segoe UI Light" pitchFamily="34" charset="0"/>
                <a:ea typeface="+mn-ea"/>
                <a:cs typeface="+mn-cs"/>
              </a:rPr>
              <a:t> is also used to store agent metadata, logs, results, job definitions, and also contains many useful stored procedures, and other database objects, for creating, running, and managing jobs using T-SQL.</a:t>
            </a:r>
          </a:p>
          <a:p>
            <a:r>
              <a:rPr lang="en-US" sz="800" b="0" i="0" u="none" strike="noStrike" kern="1200" dirty="0">
                <a:solidFill>
                  <a:schemeClr val="tx1"/>
                </a:solidFill>
                <a:effectLst/>
                <a:latin typeface="Segoe UI Light" pitchFamily="34" charset="0"/>
                <a:ea typeface="+mn-ea"/>
                <a:cs typeface="+mn-cs"/>
              </a:rPr>
              <a:t>For the current preview, an existing Azure SQL database (S0 or higher) is required to create an Elastic Job agent.</a:t>
            </a:r>
          </a:p>
          <a:p>
            <a:r>
              <a:rPr lang="en-US" sz="800" b="0" i="0" u="none" strike="noStrike" kern="1200" dirty="0">
                <a:solidFill>
                  <a:schemeClr val="tx1"/>
                </a:solidFill>
                <a:effectLst/>
                <a:latin typeface="Segoe UI Light" pitchFamily="34" charset="0"/>
                <a:ea typeface="+mn-ea"/>
                <a:cs typeface="+mn-cs"/>
              </a:rPr>
              <a:t>The </a:t>
            </a:r>
            <a:r>
              <a:rPr lang="en-US" sz="800" b="0" i="1" u="none" strike="noStrike" kern="1200" dirty="0">
                <a:solidFill>
                  <a:schemeClr val="tx1"/>
                </a:solidFill>
                <a:effectLst/>
                <a:latin typeface="Segoe UI Light" pitchFamily="34" charset="0"/>
                <a:ea typeface="+mn-ea"/>
                <a:cs typeface="+mn-cs"/>
              </a:rPr>
              <a:t>Job database</a:t>
            </a:r>
            <a:r>
              <a:rPr lang="en-US" sz="800" b="0" i="0" u="none" strike="noStrike" kern="1200" dirty="0">
                <a:solidFill>
                  <a:schemeClr val="tx1"/>
                </a:solidFill>
                <a:effectLst/>
                <a:latin typeface="Segoe UI Light" pitchFamily="34" charset="0"/>
                <a:ea typeface="+mn-ea"/>
                <a:cs typeface="+mn-cs"/>
              </a:rPr>
              <a:t> doesn't literally need to be new, but should be a clean, empty, S0 or higher service tier. The recommended service tier of the </a:t>
            </a:r>
            <a:r>
              <a:rPr lang="en-US" sz="800" b="0" i="1" u="none" strike="noStrike" kern="1200" dirty="0">
                <a:solidFill>
                  <a:schemeClr val="tx1"/>
                </a:solidFill>
                <a:effectLst/>
                <a:latin typeface="Segoe UI Light" pitchFamily="34" charset="0"/>
                <a:ea typeface="+mn-ea"/>
                <a:cs typeface="+mn-cs"/>
              </a:rPr>
              <a:t>Job database</a:t>
            </a:r>
            <a:r>
              <a:rPr lang="en-US" sz="800" b="0" i="0" u="none" strike="noStrike" kern="1200" dirty="0">
                <a:solidFill>
                  <a:schemeClr val="tx1"/>
                </a:solidFill>
                <a:effectLst/>
                <a:latin typeface="Segoe UI Light" pitchFamily="34" charset="0"/>
                <a:ea typeface="+mn-ea"/>
                <a:cs typeface="+mn-cs"/>
              </a:rPr>
              <a:t> is S1 or higher, but really depends on the performance needs of your job(s): number of job steps, how many times, and how frequently jobs are run. For example, an S0 database might be sufficient for a job agent that runs few jobs an hour, but running a job every minute might not be performant enough, and a higher service tier might be better.</a:t>
            </a:r>
          </a:p>
          <a:p>
            <a:endParaRPr lang="en-US" dirty="0"/>
          </a:p>
          <a:p>
            <a:r>
              <a:rPr lang="en-US" sz="800" b="1" i="0" u="none" strike="noStrike" kern="1200" dirty="0">
                <a:solidFill>
                  <a:schemeClr val="tx1"/>
                </a:solidFill>
                <a:effectLst/>
                <a:latin typeface="Segoe UI Light" pitchFamily="34" charset="0"/>
                <a:ea typeface="+mn-ea"/>
                <a:cs typeface="+mn-cs"/>
              </a:rPr>
              <a:t>Target group</a:t>
            </a:r>
          </a:p>
          <a:p>
            <a:r>
              <a:rPr lang="en-US" sz="800" b="0" i="0" u="none" strike="noStrike" kern="1200" dirty="0">
                <a:solidFill>
                  <a:schemeClr val="tx1"/>
                </a:solidFill>
                <a:effectLst/>
                <a:latin typeface="Segoe UI Light" pitchFamily="34" charset="0"/>
                <a:ea typeface="+mn-ea"/>
                <a:cs typeface="+mn-cs"/>
              </a:rPr>
              <a:t>A </a:t>
            </a:r>
            <a:r>
              <a:rPr lang="en-US" sz="800" b="0" i="1" u="none" strike="noStrike" kern="1200" dirty="0">
                <a:solidFill>
                  <a:schemeClr val="tx1"/>
                </a:solidFill>
                <a:effectLst/>
                <a:latin typeface="Segoe UI Light" pitchFamily="34" charset="0"/>
                <a:ea typeface="+mn-ea"/>
                <a:cs typeface="+mn-cs"/>
              </a:rPr>
              <a:t>target group</a:t>
            </a:r>
            <a:r>
              <a:rPr lang="en-US" sz="800" b="0" i="0" u="none" strike="noStrike" kern="1200" dirty="0">
                <a:solidFill>
                  <a:schemeClr val="tx1"/>
                </a:solidFill>
                <a:effectLst/>
                <a:latin typeface="Segoe UI Light" pitchFamily="34" charset="0"/>
                <a:ea typeface="+mn-ea"/>
                <a:cs typeface="+mn-cs"/>
              </a:rPr>
              <a:t> defines the set of databases a job step will execute on. A target group can contain any number and combination of the following:</a:t>
            </a:r>
          </a:p>
          <a:p>
            <a:r>
              <a:rPr lang="en-US" sz="800" b="1" i="0" u="none" strike="noStrike" kern="1200" dirty="0">
                <a:solidFill>
                  <a:schemeClr val="tx1"/>
                </a:solidFill>
                <a:effectLst/>
                <a:latin typeface="Segoe UI Light" pitchFamily="34" charset="0"/>
                <a:ea typeface="+mn-ea"/>
                <a:cs typeface="+mn-cs"/>
              </a:rPr>
              <a:t>Azure SQL server</a:t>
            </a:r>
            <a:r>
              <a:rPr lang="en-US" sz="800" b="0" i="0" u="none" strike="noStrike" kern="1200" dirty="0">
                <a:solidFill>
                  <a:schemeClr val="tx1"/>
                </a:solidFill>
                <a:effectLst/>
                <a:latin typeface="Segoe UI Light" pitchFamily="34" charset="0"/>
                <a:ea typeface="+mn-ea"/>
                <a:cs typeface="+mn-cs"/>
              </a:rPr>
              <a:t> - if a server is specified, all databases that exist in the server at the time of the job execution are part of the group. The master database credential must be provided so that the group can be enumerated and updated prior to job execution.</a:t>
            </a:r>
          </a:p>
          <a:p>
            <a:r>
              <a:rPr lang="en-US" sz="800" b="1" i="0" u="none" strike="noStrike" kern="1200" dirty="0">
                <a:solidFill>
                  <a:schemeClr val="tx1"/>
                </a:solidFill>
                <a:effectLst/>
                <a:latin typeface="Segoe UI Light" pitchFamily="34" charset="0"/>
                <a:ea typeface="+mn-ea"/>
                <a:cs typeface="+mn-cs"/>
              </a:rPr>
              <a:t>Elastic pool</a:t>
            </a:r>
            <a:r>
              <a:rPr lang="en-US" sz="800" b="0" i="0" u="none" strike="noStrike" kern="1200" dirty="0">
                <a:solidFill>
                  <a:schemeClr val="tx1"/>
                </a:solidFill>
                <a:effectLst/>
                <a:latin typeface="Segoe UI Light" pitchFamily="34" charset="0"/>
                <a:ea typeface="+mn-ea"/>
                <a:cs typeface="+mn-cs"/>
              </a:rPr>
              <a:t> - if an elastic pool is specified, all databases that are in the elastic pool at the time of the job execution are part of the group. As for a server, the master database credential must be provided so that the group can be updated prior to the job execution.</a:t>
            </a:r>
          </a:p>
          <a:p>
            <a:r>
              <a:rPr lang="en-US" sz="800" b="1" i="0" u="none" strike="noStrike" kern="1200" dirty="0">
                <a:solidFill>
                  <a:schemeClr val="tx1"/>
                </a:solidFill>
                <a:effectLst/>
                <a:latin typeface="Segoe UI Light" pitchFamily="34" charset="0"/>
                <a:ea typeface="+mn-ea"/>
                <a:cs typeface="+mn-cs"/>
              </a:rPr>
              <a:t>Single database</a:t>
            </a:r>
            <a:r>
              <a:rPr lang="en-US" sz="800" b="0" i="0" u="none" strike="noStrike" kern="1200" dirty="0">
                <a:solidFill>
                  <a:schemeClr val="tx1"/>
                </a:solidFill>
                <a:effectLst/>
                <a:latin typeface="Segoe UI Light" pitchFamily="34" charset="0"/>
                <a:ea typeface="+mn-ea"/>
                <a:cs typeface="+mn-cs"/>
              </a:rPr>
              <a:t> - specify one or more individual databases to be part of the group.</a:t>
            </a:r>
          </a:p>
          <a:p>
            <a:r>
              <a:rPr lang="en-US" sz="800" b="1" i="0" u="none" strike="noStrike" kern="1200" dirty="0" err="1">
                <a:solidFill>
                  <a:schemeClr val="tx1"/>
                </a:solidFill>
                <a:effectLst/>
                <a:latin typeface="Segoe UI Light" pitchFamily="34" charset="0"/>
                <a:ea typeface="+mn-ea"/>
                <a:cs typeface="+mn-cs"/>
              </a:rPr>
              <a:t>Shardmap</a:t>
            </a:r>
            <a:r>
              <a:rPr lang="en-US" sz="800" b="0" i="0" u="none" strike="noStrike" kern="1200" dirty="0">
                <a:solidFill>
                  <a:schemeClr val="tx1"/>
                </a:solidFill>
                <a:effectLst/>
                <a:latin typeface="Segoe UI Light" pitchFamily="34" charset="0"/>
                <a:ea typeface="+mn-ea"/>
                <a:cs typeface="+mn-cs"/>
              </a:rPr>
              <a:t> - databases of a </a:t>
            </a:r>
            <a:r>
              <a:rPr lang="en-US" sz="800" b="0" i="0" u="none" strike="noStrike" kern="1200" dirty="0" err="1">
                <a:solidFill>
                  <a:schemeClr val="tx1"/>
                </a:solidFill>
                <a:effectLst/>
                <a:latin typeface="Segoe UI Light" pitchFamily="34" charset="0"/>
                <a:ea typeface="+mn-ea"/>
                <a:cs typeface="+mn-cs"/>
              </a:rPr>
              <a:t>shardmap</a:t>
            </a:r>
            <a:r>
              <a:rPr lang="en-US" sz="800" b="0" i="0" u="none" strike="noStrike" kern="1200" dirty="0">
                <a:solidFill>
                  <a:schemeClr val="tx1"/>
                </a:solidFill>
                <a:effectLst/>
                <a:latin typeface="Segoe UI Light" pitchFamily="34" charset="0"/>
                <a:ea typeface="+mn-ea"/>
                <a:cs typeface="+mn-cs"/>
              </a:rPr>
              <a:t>.</a:t>
            </a:r>
          </a:p>
          <a:p>
            <a:endParaRPr lang="en-US" dirty="0"/>
          </a:p>
          <a:p>
            <a:r>
              <a:rPr lang="en-US" sz="800" b="1" i="0" u="none" strike="noStrike" kern="1200" dirty="0">
                <a:solidFill>
                  <a:schemeClr val="tx1"/>
                </a:solidFill>
                <a:effectLst/>
                <a:latin typeface="Segoe UI Light" pitchFamily="34" charset="0"/>
                <a:ea typeface="+mn-ea"/>
                <a:cs typeface="+mn-cs"/>
              </a:rPr>
              <a:t>Job</a:t>
            </a:r>
          </a:p>
          <a:p>
            <a:r>
              <a:rPr lang="en-US" sz="800" b="0" i="0" u="none" strike="noStrike" kern="1200" dirty="0">
                <a:solidFill>
                  <a:schemeClr val="tx1"/>
                </a:solidFill>
                <a:effectLst/>
                <a:latin typeface="Segoe UI Light" pitchFamily="34" charset="0"/>
                <a:ea typeface="+mn-ea"/>
                <a:cs typeface="+mn-cs"/>
              </a:rPr>
              <a:t>A </a:t>
            </a:r>
            <a:r>
              <a:rPr lang="en-US" sz="800" b="0" i="1" u="none" strike="noStrike" kern="1200" dirty="0">
                <a:solidFill>
                  <a:schemeClr val="tx1"/>
                </a:solidFill>
                <a:effectLst/>
                <a:latin typeface="Segoe UI Light" pitchFamily="34" charset="0"/>
                <a:ea typeface="+mn-ea"/>
                <a:cs typeface="+mn-cs"/>
              </a:rPr>
              <a:t>job</a:t>
            </a:r>
            <a:r>
              <a:rPr lang="en-US" sz="800" b="0" i="0" u="none" strike="noStrike" kern="1200" dirty="0">
                <a:solidFill>
                  <a:schemeClr val="tx1"/>
                </a:solidFill>
                <a:effectLst/>
                <a:latin typeface="Segoe UI Light" pitchFamily="34" charset="0"/>
                <a:ea typeface="+mn-ea"/>
                <a:cs typeface="+mn-cs"/>
              </a:rPr>
              <a:t> is a unit of work that is executed on a schedule or as a one-time job. A job consists of one or more </a:t>
            </a:r>
            <a:r>
              <a:rPr lang="en-US" sz="800" b="0" i="1" u="none" strike="noStrike" kern="1200" dirty="0">
                <a:solidFill>
                  <a:schemeClr val="tx1"/>
                </a:solidFill>
                <a:effectLst/>
                <a:latin typeface="Segoe UI Light" pitchFamily="34" charset="0"/>
                <a:ea typeface="+mn-ea"/>
                <a:cs typeface="+mn-cs"/>
              </a:rPr>
              <a:t>job steps</a:t>
            </a:r>
            <a:r>
              <a:rPr lang="en-US" sz="800" b="0" i="0" u="none" strike="noStrike" kern="1200" dirty="0">
                <a:solidFill>
                  <a:schemeClr val="tx1"/>
                </a:solidFill>
                <a:effectLst/>
                <a:latin typeface="Segoe UI Light" pitchFamily="34" charset="0"/>
                <a:ea typeface="+mn-ea"/>
                <a:cs typeface="+mn-cs"/>
              </a:rPr>
              <a:t>.</a:t>
            </a:r>
          </a:p>
          <a:p>
            <a:r>
              <a:rPr lang="en-US" sz="800" b="1" i="0" u="none" strike="noStrike" kern="1200" dirty="0">
                <a:solidFill>
                  <a:schemeClr val="tx1"/>
                </a:solidFill>
                <a:effectLst/>
                <a:latin typeface="Segoe UI Light" pitchFamily="34" charset="0"/>
                <a:ea typeface="+mn-ea"/>
                <a:cs typeface="+mn-cs"/>
              </a:rPr>
              <a:t>Job step</a:t>
            </a:r>
          </a:p>
          <a:p>
            <a:r>
              <a:rPr lang="en-US" sz="800" b="0" i="0" u="none" strike="noStrike" kern="1200" dirty="0">
                <a:solidFill>
                  <a:schemeClr val="tx1"/>
                </a:solidFill>
                <a:effectLst/>
                <a:latin typeface="Segoe UI Light" pitchFamily="34" charset="0"/>
                <a:ea typeface="+mn-ea"/>
                <a:cs typeface="+mn-cs"/>
              </a:rPr>
              <a:t>Each job step specifies a T-SQL script to execute, one or more target groups to run the T-SQL script against, and the credentials the job agent needs to connect to the target database. Each job step has customizable timeout and retry policies, and can optionally specify output parameters.</a:t>
            </a:r>
          </a:p>
          <a:p>
            <a:r>
              <a:rPr lang="en-US" sz="800" b="1" i="0" u="none" strike="noStrike" kern="1200" dirty="0">
                <a:solidFill>
                  <a:schemeClr val="tx1"/>
                </a:solidFill>
                <a:effectLst/>
                <a:latin typeface="Segoe UI Light" pitchFamily="34" charset="0"/>
                <a:ea typeface="+mn-ea"/>
                <a:cs typeface="+mn-cs"/>
              </a:rPr>
              <a:t>Job output</a:t>
            </a:r>
          </a:p>
          <a:p>
            <a:r>
              <a:rPr lang="en-US" sz="800" b="0" i="0" u="none" strike="noStrike" kern="1200" dirty="0">
                <a:solidFill>
                  <a:schemeClr val="tx1"/>
                </a:solidFill>
                <a:effectLst/>
                <a:latin typeface="Segoe UI Light" pitchFamily="34" charset="0"/>
                <a:ea typeface="+mn-ea"/>
                <a:cs typeface="+mn-cs"/>
              </a:rPr>
              <a:t>The outcome of a job's steps on each target database are recorded in detail, and script output can be captured to a specified table. You can specify a database to save any data returned from a job.</a:t>
            </a:r>
          </a:p>
          <a:p>
            <a:r>
              <a:rPr lang="en-US" sz="800" b="1" i="0" u="none" strike="noStrike" kern="1200" dirty="0">
                <a:solidFill>
                  <a:schemeClr val="tx1"/>
                </a:solidFill>
                <a:effectLst/>
                <a:latin typeface="Segoe UI Light" pitchFamily="34" charset="0"/>
                <a:ea typeface="+mn-ea"/>
                <a:cs typeface="+mn-cs"/>
              </a:rPr>
              <a:t>Job history</a:t>
            </a:r>
          </a:p>
          <a:p>
            <a:r>
              <a:rPr lang="en-US" sz="800" b="0" i="0" u="none" strike="noStrike" kern="1200" dirty="0">
                <a:solidFill>
                  <a:schemeClr val="tx1"/>
                </a:solidFill>
                <a:effectLst/>
                <a:latin typeface="Segoe UI Light" pitchFamily="34" charset="0"/>
                <a:ea typeface="+mn-ea"/>
                <a:cs typeface="+mn-cs"/>
              </a:rPr>
              <a:t>Job execution history is stored in the </a:t>
            </a:r>
            <a:r>
              <a:rPr lang="en-US" sz="800" b="0" i="1" u="none" strike="noStrike" kern="1200" dirty="0">
                <a:solidFill>
                  <a:schemeClr val="tx1"/>
                </a:solidFill>
                <a:effectLst/>
                <a:latin typeface="Segoe UI Light" pitchFamily="34" charset="0"/>
                <a:ea typeface="+mn-ea"/>
                <a:cs typeface="+mn-cs"/>
              </a:rPr>
              <a:t>Job database</a:t>
            </a:r>
            <a:r>
              <a:rPr lang="en-US" sz="800" b="0" i="0" u="none" strike="noStrike" kern="1200" dirty="0">
                <a:solidFill>
                  <a:schemeClr val="tx1"/>
                </a:solidFill>
                <a:effectLst/>
                <a:latin typeface="Segoe UI Light" pitchFamily="34" charset="0"/>
                <a:ea typeface="+mn-ea"/>
                <a:cs typeface="+mn-cs"/>
              </a:rPr>
              <a:t>. A system cleanup job purges execution history that is older than 45 days. To remove history less than 45 days old, call the </a:t>
            </a:r>
            <a:r>
              <a:rPr lang="en-US" sz="800" b="1" i="0" u="none" strike="noStrike" kern="1200" dirty="0" err="1">
                <a:solidFill>
                  <a:schemeClr val="tx1"/>
                </a:solidFill>
                <a:effectLst/>
                <a:latin typeface="Segoe UI Light" pitchFamily="34" charset="0"/>
                <a:ea typeface="+mn-ea"/>
                <a:cs typeface="+mn-cs"/>
              </a:rPr>
              <a:t>sp_purge_history</a:t>
            </a:r>
            <a:r>
              <a:rPr lang="en-US" sz="800" b="0" i="0" u="none" strike="noStrike" kern="1200" dirty="0">
                <a:solidFill>
                  <a:schemeClr val="tx1"/>
                </a:solidFill>
                <a:effectLst/>
                <a:latin typeface="Segoe UI Light" pitchFamily="34" charset="0"/>
                <a:ea typeface="+mn-ea"/>
                <a:cs typeface="+mn-cs"/>
              </a:rPr>
              <a:t> stored procedure in the </a:t>
            </a:r>
            <a:r>
              <a:rPr lang="en-US" sz="800" b="0" i="1" u="none" strike="noStrike" kern="1200" dirty="0">
                <a:solidFill>
                  <a:schemeClr val="tx1"/>
                </a:solidFill>
                <a:effectLst/>
                <a:latin typeface="Segoe UI Light" pitchFamily="34" charset="0"/>
                <a:ea typeface="+mn-ea"/>
                <a:cs typeface="+mn-cs"/>
              </a:rPr>
              <a:t>Job database</a:t>
            </a:r>
            <a:r>
              <a:rPr lang="en-US" sz="800" b="0" i="0" u="none" strike="noStrike" kern="1200" dirty="0">
                <a:solidFill>
                  <a:schemeClr val="tx1"/>
                </a:solidFill>
                <a:effectLst/>
                <a:latin typeface="Segoe UI Light" pitchFamily="34" charset="0"/>
                <a:ea typeface="+mn-ea"/>
                <a:cs typeface="+mn-cs"/>
              </a:rPr>
              <a:t>.</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4</a:t>
            </a:fld>
            <a:endParaRPr lang="en-US" noProof="0"/>
          </a:p>
        </p:txBody>
      </p:sp>
    </p:spTree>
    <p:extLst>
      <p:ext uri="{BB962C8B-B14F-4D97-AF65-F5344CB8AC3E}">
        <p14:creationId xmlns:p14="http://schemas.microsoft.com/office/powerpoint/2010/main" val="171730273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u="none" strike="noStrike" kern="1200" dirty="0">
                <a:solidFill>
                  <a:schemeClr val="tx1"/>
                </a:solidFill>
                <a:effectLst/>
                <a:latin typeface="Segoe UI Light" pitchFamily="34" charset="0"/>
                <a:ea typeface="+mn-ea"/>
                <a:cs typeface="+mn-cs"/>
              </a:rPr>
              <a:t>Jobs use </a:t>
            </a:r>
            <a:r>
              <a:rPr lang="en-US" sz="800" b="0" i="0" u="sng" strike="noStrike" kern="1200" dirty="0">
                <a:solidFill>
                  <a:schemeClr val="tx1"/>
                </a:solidFill>
                <a:effectLst/>
                <a:latin typeface="Segoe UI Light" pitchFamily="34" charset="0"/>
                <a:ea typeface="+mn-ea"/>
                <a:cs typeface="+mn-cs"/>
                <a:hlinkClick r:id="rId3"/>
              </a:rPr>
              <a:t>database scoped credentials</a:t>
            </a:r>
            <a:r>
              <a:rPr lang="en-US" sz="800" b="0" i="0" u="none" strike="noStrike" kern="1200" dirty="0">
                <a:solidFill>
                  <a:schemeClr val="tx1"/>
                </a:solidFill>
                <a:effectLst/>
                <a:latin typeface="Segoe UI Light" pitchFamily="34" charset="0"/>
                <a:ea typeface="+mn-ea"/>
                <a:cs typeface="+mn-cs"/>
              </a:rPr>
              <a:t> to connect to the databases specified by the target group upon execution. If a target group contains servers or pools, these database scoped credentials are used to connect to the master database to enumerate the available databases.</a:t>
            </a:r>
          </a:p>
          <a:p>
            <a:r>
              <a:rPr lang="en-US" sz="800" b="0" i="0" u="none" strike="noStrike" kern="1200" dirty="0">
                <a:solidFill>
                  <a:schemeClr val="tx1"/>
                </a:solidFill>
                <a:effectLst/>
                <a:latin typeface="Segoe UI Light" pitchFamily="34" charset="0"/>
                <a:ea typeface="+mn-ea"/>
                <a:cs typeface="+mn-cs"/>
              </a:rPr>
              <a:t>Setting up the proper credentials to run a job can be a little confusing, so keep the following points in mind:</a:t>
            </a:r>
          </a:p>
          <a:p>
            <a:r>
              <a:rPr lang="en-US" sz="800" b="0" i="0" u="none" strike="noStrike" kern="1200" dirty="0">
                <a:solidFill>
                  <a:schemeClr val="tx1"/>
                </a:solidFill>
                <a:effectLst/>
                <a:latin typeface="Segoe UI Light" pitchFamily="34" charset="0"/>
                <a:ea typeface="+mn-ea"/>
                <a:cs typeface="+mn-cs"/>
              </a:rPr>
              <a:t>The database scoped credentials must be created in the </a:t>
            </a:r>
            <a:r>
              <a:rPr lang="en-US" sz="800" b="0" i="1" u="none" strike="noStrike" kern="1200" dirty="0">
                <a:solidFill>
                  <a:schemeClr val="tx1"/>
                </a:solidFill>
                <a:effectLst/>
                <a:latin typeface="Segoe UI Light" pitchFamily="34" charset="0"/>
                <a:ea typeface="+mn-ea"/>
                <a:cs typeface="+mn-cs"/>
              </a:rPr>
              <a:t>Job database</a:t>
            </a:r>
            <a:r>
              <a:rPr lang="en-US" sz="800" b="0" i="0" u="none" strike="noStrike" kern="1200" dirty="0">
                <a:solidFill>
                  <a:schemeClr val="tx1"/>
                </a:solidFill>
                <a:effectLst/>
                <a:latin typeface="Segoe UI Light" pitchFamily="34" charset="0"/>
                <a:ea typeface="+mn-ea"/>
                <a:cs typeface="+mn-cs"/>
              </a:rPr>
              <a:t>.</a:t>
            </a:r>
          </a:p>
          <a:p>
            <a:r>
              <a:rPr lang="en-US" sz="800" b="1" i="0" u="none" strike="noStrike" kern="1200" dirty="0">
                <a:solidFill>
                  <a:schemeClr val="tx1"/>
                </a:solidFill>
                <a:effectLst/>
                <a:latin typeface="Segoe UI Light" pitchFamily="34" charset="0"/>
                <a:ea typeface="+mn-ea"/>
                <a:cs typeface="+mn-cs"/>
              </a:rPr>
              <a:t>All target databases must have a login with </a:t>
            </a:r>
            <a:r>
              <a:rPr lang="en-US" sz="800" b="1" i="0" u="none" strike="noStrike" kern="1200" dirty="0">
                <a:solidFill>
                  <a:schemeClr val="tx1"/>
                </a:solidFill>
                <a:effectLst/>
                <a:latin typeface="Segoe UI Light" pitchFamily="34" charset="0"/>
                <a:ea typeface="+mn-ea"/>
                <a:cs typeface="+mn-cs"/>
                <a:hlinkClick r:id="rId4"/>
              </a:rPr>
              <a:t>sufficient permissions</a:t>
            </a:r>
            <a:r>
              <a:rPr lang="en-US" sz="800" b="1" i="0" u="none" strike="noStrike" kern="1200" dirty="0">
                <a:solidFill>
                  <a:schemeClr val="tx1"/>
                </a:solidFill>
                <a:effectLst/>
                <a:latin typeface="Segoe UI Light" pitchFamily="34" charset="0"/>
                <a:ea typeface="+mn-ea"/>
                <a:cs typeface="+mn-cs"/>
              </a:rPr>
              <a:t> for the job to complete successfully</a:t>
            </a:r>
            <a:r>
              <a:rPr lang="en-US" sz="800" b="0" i="0" u="none" strike="noStrike" kern="1200" dirty="0">
                <a:solidFill>
                  <a:schemeClr val="tx1"/>
                </a:solidFill>
                <a:effectLst/>
                <a:latin typeface="Segoe UI Light" pitchFamily="34" charset="0"/>
                <a:ea typeface="+mn-ea"/>
                <a:cs typeface="+mn-cs"/>
              </a:rPr>
              <a:t> (</a:t>
            </a:r>
            <a:r>
              <a:rPr lang="en-US" sz="800" b="0" i="0" u="none" strike="noStrike" kern="1200" dirty="0" err="1">
                <a:solidFill>
                  <a:schemeClr val="tx1"/>
                </a:solidFill>
                <a:effectLst/>
                <a:latin typeface="Segoe UI Light" pitchFamily="34" charset="0"/>
                <a:ea typeface="+mn-ea"/>
                <a:cs typeface="+mn-cs"/>
              </a:rPr>
              <a:t>jobuser</a:t>
            </a:r>
            <a:r>
              <a:rPr lang="en-US" sz="800" b="0" i="0" u="none" strike="noStrike" kern="1200" dirty="0">
                <a:solidFill>
                  <a:schemeClr val="tx1"/>
                </a:solidFill>
                <a:effectLst/>
                <a:latin typeface="Segoe UI Light" pitchFamily="34" charset="0"/>
                <a:ea typeface="+mn-ea"/>
                <a:cs typeface="+mn-cs"/>
              </a:rPr>
              <a:t> in the diagram below).</a:t>
            </a:r>
          </a:p>
          <a:p>
            <a:r>
              <a:rPr lang="en-US" sz="800" b="0" i="0" u="none" strike="noStrike" kern="1200" dirty="0">
                <a:solidFill>
                  <a:schemeClr val="tx1"/>
                </a:solidFill>
                <a:effectLst/>
                <a:latin typeface="Segoe UI Light" pitchFamily="34" charset="0"/>
                <a:ea typeface="+mn-ea"/>
                <a:cs typeface="+mn-cs"/>
              </a:rPr>
              <a:t>Credentials can be reused across jobs, and the credential passwords are encrypted and secured from users who have read-only access to job objects.</a:t>
            </a:r>
          </a:p>
          <a:p>
            <a:r>
              <a:rPr lang="en-US" sz="800" b="0" i="0" u="none" strike="noStrike" kern="1200" dirty="0">
                <a:solidFill>
                  <a:schemeClr val="tx1"/>
                </a:solidFill>
                <a:effectLst/>
                <a:latin typeface="Segoe UI Light" pitchFamily="34" charset="0"/>
                <a:ea typeface="+mn-ea"/>
                <a:cs typeface="+mn-cs"/>
              </a:rPr>
              <a:t>The following image is designed to assist in understanding and setting up the proper job credentials. </a:t>
            </a:r>
            <a:r>
              <a:rPr lang="en-US" sz="800" b="1" i="0" u="none" strike="noStrike" kern="1200" dirty="0">
                <a:solidFill>
                  <a:schemeClr val="tx1"/>
                </a:solidFill>
                <a:effectLst/>
                <a:latin typeface="Segoe UI Light" pitchFamily="34" charset="0"/>
                <a:ea typeface="+mn-ea"/>
                <a:cs typeface="+mn-cs"/>
              </a:rPr>
              <a:t>Remember to create the user in every database (all </a:t>
            </a:r>
            <a:r>
              <a:rPr lang="en-US" sz="800" b="1" i="1" u="none" strike="noStrike" kern="1200" dirty="0">
                <a:solidFill>
                  <a:schemeClr val="tx1"/>
                </a:solidFill>
                <a:effectLst/>
                <a:latin typeface="Segoe UI Light" pitchFamily="34" charset="0"/>
                <a:ea typeface="+mn-ea"/>
                <a:cs typeface="+mn-cs"/>
              </a:rPr>
              <a:t>target user </a:t>
            </a:r>
            <a:r>
              <a:rPr lang="en-US" sz="800" b="1" i="1" u="none" strike="noStrike" kern="1200" dirty="0" err="1">
                <a:solidFill>
                  <a:schemeClr val="tx1"/>
                </a:solidFill>
                <a:effectLst/>
                <a:latin typeface="Segoe UI Light" pitchFamily="34" charset="0"/>
                <a:ea typeface="+mn-ea"/>
                <a:cs typeface="+mn-cs"/>
              </a:rPr>
              <a:t>dbs</a:t>
            </a:r>
            <a:r>
              <a:rPr lang="en-US" sz="800" b="1" i="0" u="none" strike="noStrike" kern="1200" dirty="0">
                <a:solidFill>
                  <a:schemeClr val="tx1"/>
                </a:solidFill>
                <a:effectLst/>
                <a:latin typeface="Segoe UI Light" pitchFamily="34" charset="0"/>
                <a:ea typeface="+mn-ea"/>
                <a:cs typeface="+mn-cs"/>
              </a:rPr>
              <a:t>) the job needs to run</a:t>
            </a:r>
            <a:r>
              <a:rPr lang="en-US" sz="800" b="0" i="0" u="none" strike="noStrike" kern="1200" dirty="0">
                <a:solidFill>
                  <a:schemeClr val="tx1"/>
                </a:solidFill>
                <a:effectLst/>
                <a:latin typeface="Segoe UI Light" pitchFamily="34" charset="0"/>
                <a:ea typeface="+mn-ea"/>
                <a:cs typeface="+mn-cs"/>
              </a:rPr>
              <a:t>.</a:t>
            </a:r>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5</a:t>
            </a:fld>
            <a:endParaRPr lang="en-US" noProof="0"/>
          </a:p>
        </p:txBody>
      </p:sp>
    </p:spTree>
    <p:extLst>
      <p:ext uri="{BB962C8B-B14F-4D97-AF65-F5344CB8AC3E}">
        <p14:creationId xmlns:p14="http://schemas.microsoft.com/office/powerpoint/2010/main" val="34236761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can use SQL Server Data Tools (SSDT) by providing your FQDN:</a:t>
            </a:r>
          </a:p>
          <a:p>
            <a:r>
              <a:rPr lang="en-US" b="1" dirty="0"/>
              <a:t>&lt;Server name&gt;.database.windows.net</a:t>
            </a:r>
          </a:p>
          <a:p>
            <a:r>
              <a:rPr lang="en-US" dirty="0"/>
              <a:t>And providing a valid Login and Password. </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7</a:t>
            </a:fld>
            <a:endParaRPr lang="en-US" noProof="0"/>
          </a:p>
        </p:txBody>
      </p:sp>
    </p:spTree>
    <p:extLst>
      <p:ext uri="{BB962C8B-B14F-4D97-AF65-F5344CB8AC3E}">
        <p14:creationId xmlns:p14="http://schemas.microsoft.com/office/powerpoint/2010/main" val="385266745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indent="0">
              <a:buFont typeface="Arial" panose="020B0604020202020204" pitchFamily="34" charset="0"/>
              <a:buNone/>
            </a:pPr>
            <a:r>
              <a:rPr lang="en-US" sz="1800" dirty="0">
                <a:solidFill>
                  <a:srgbClr val="000000"/>
                </a:solidFill>
                <a:latin typeface="Consolas" panose="020B0609020204030204" pitchFamily="49" charset="0"/>
              </a:rPr>
              <a:t>M02L03Lab01</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56323206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 action="ppaction://noaction"/>
              </a:rPr>
              <a:t>For more information :</a:t>
            </a:r>
          </a:p>
          <a:p>
            <a:endParaRPr lang="en-US" dirty="0">
              <a:hlinkClick r:id="" action="ppaction://noaction"/>
            </a:endParaRPr>
          </a:p>
          <a:p>
            <a:r>
              <a:rPr lang="en-US" dirty="0">
                <a:hlinkClick r:id="" action="ppaction://noaction"/>
              </a:rPr>
              <a:t>https://www.pythian.com/blog/sql-server-jobs-azure-sql-database/</a:t>
            </a:r>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7</a:t>
            </a:fld>
            <a:endParaRPr lang="en-US" noProof="0"/>
          </a:p>
        </p:txBody>
      </p:sp>
    </p:spTree>
    <p:extLst>
      <p:ext uri="{BB962C8B-B14F-4D97-AF65-F5344CB8AC3E}">
        <p14:creationId xmlns:p14="http://schemas.microsoft.com/office/powerpoint/2010/main" val="416109019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 action="ppaction://noaction"/>
              </a:rPr>
              <a:t>More Information:</a:t>
            </a:r>
          </a:p>
          <a:p>
            <a:endParaRPr lang="en-US" dirty="0">
              <a:hlinkClick r:id="" action="ppaction://noaction"/>
            </a:endParaRPr>
          </a:p>
          <a:p>
            <a:r>
              <a:rPr lang="en-US" dirty="0">
                <a:hlinkClick r:id="" action="ppaction://noaction"/>
              </a:rPr>
              <a:t>https://www.pythian.com/blog/sql-server-jobs-azure-sql-database/</a:t>
            </a:r>
            <a:endParaRPr lang="en-US" dirty="0"/>
          </a:p>
          <a:p>
            <a:r>
              <a:rPr lang="en-US" dirty="0">
                <a:hlinkClick r:id="rId3"/>
              </a:rPr>
              <a:t>https://devjef.wordpress.com/2016/08/22/running-maintenance-on-azure-sql-databases/</a:t>
            </a:r>
            <a:endParaRPr lang="en-US" dirty="0"/>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8</a:t>
            </a:fld>
            <a:endParaRPr lang="en-US" noProof="0"/>
          </a:p>
        </p:txBody>
      </p:sp>
    </p:spTree>
    <p:extLst>
      <p:ext uri="{BB962C8B-B14F-4D97-AF65-F5344CB8AC3E}">
        <p14:creationId xmlns:p14="http://schemas.microsoft.com/office/powerpoint/2010/main" val="122607453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Microsoft Azure Automation provides a way for users to automate the manual, long-running, error-prone, and frequently repeated tasks that are commonly performed in a cloud and enterprise environment. It saves time and increases the reliability of regular administrative tasks and even schedules them to be automatically performed at regular intervals. You can automate processes using runbooks or automate configuration management using Desired State Configuration.</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9</a:t>
            </a:fld>
            <a:endParaRPr lang="en-US" noProof="0"/>
          </a:p>
        </p:txBody>
      </p:sp>
    </p:spTree>
    <p:extLst>
      <p:ext uri="{BB962C8B-B14F-4D97-AF65-F5344CB8AC3E}">
        <p14:creationId xmlns:p14="http://schemas.microsoft.com/office/powerpoint/2010/main" val="361200461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More information:</a:t>
            </a:r>
          </a:p>
          <a:p>
            <a:r>
              <a:rPr lang="en-US" dirty="0">
                <a:hlinkClick r:id="rId3"/>
              </a:rPr>
              <a:t>https://azure.microsoft.com/en-us/blog/azure-automation-your-sql-agent-in-the-cloud/</a:t>
            </a:r>
            <a:endParaRPr lang="en-US" dirty="0"/>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0</a:t>
            </a:fld>
            <a:endParaRPr lang="en-US" noProof="0"/>
          </a:p>
        </p:txBody>
      </p:sp>
    </p:spTree>
    <p:extLst>
      <p:ext uri="{BB962C8B-B14F-4D97-AF65-F5344CB8AC3E}">
        <p14:creationId xmlns:p14="http://schemas.microsoft.com/office/powerpoint/2010/main" val="348942468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 action="ppaction://noaction"/>
              </a:rPr>
              <a:t>References:</a:t>
            </a:r>
          </a:p>
          <a:p>
            <a:endParaRPr lang="en-US" dirty="0">
              <a:hlinkClick r:id="" action="ppaction://noaction"/>
            </a:endParaRPr>
          </a:p>
          <a:p>
            <a:r>
              <a:rPr lang="en-US" dirty="0">
                <a:hlinkClick r:id="" action="ppaction://noaction"/>
              </a:rPr>
              <a:t>https://azure.microsoft.com/en-us/blog/azure-automation-your-sql-agent-in-the-cloud/</a:t>
            </a:r>
            <a:endParaRPr lang="en-US" dirty="0"/>
          </a:p>
          <a:p>
            <a:endParaRPr lang="en-US" dirty="0"/>
          </a:p>
          <a:p>
            <a:r>
              <a:rPr lang="en-US" dirty="0">
                <a:hlinkClick r:id="rId3"/>
              </a:rPr>
              <a:t>https://blogs.technet.microsoft.com/uktechnet/2016/02/05/is-sql-server-agent-missing-from-azure-sql-database/</a:t>
            </a:r>
            <a:endParaRPr lang="en-US" dirty="0"/>
          </a:p>
          <a:p>
            <a:endParaRPr lang="en-US" dirty="0"/>
          </a:p>
          <a:p>
            <a:endParaRPr lang="en-US" dirty="0"/>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1</a:t>
            </a:fld>
            <a:endParaRPr lang="en-US" noProof="0"/>
          </a:p>
        </p:txBody>
      </p:sp>
    </p:spTree>
    <p:extLst>
      <p:ext uri="{BB962C8B-B14F-4D97-AF65-F5344CB8AC3E}">
        <p14:creationId xmlns:p14="http://schemas.microsoft.com/office/powerpoint/2010/main" val="164481569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202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1800" dirty="0">
                <a:solidFill>
                  <a:srgbClr val="000000"/>
                </a:solidFill>
                <a:latin typeface="Consolas" panose="020B0609020204030204" pitchFamily="49" charset="0"/>
              </a:rPr>
              <a:t>M02L03Demo01</a:t>
            </a:r>
          </a:p>
          <a:p>
            <a:endParaRPr lang="en-US" b="1" dirty="0"/>
          </a:p>
          <a:p>
            <a:r>
              <a:rPr lang="en-US" b="1" dirty="0"/>
              <a:t>Demo setup instructions</a:t>
            </a:r>
          </a:p>
          <a:p>
            <a:pPr marL="171450" indent="-171450">
              <a:buFont typeface="Arial" panose="020B0604020202020204" pitchFamily="34" charset="0"/>
              <a:buChar char="•"/>
            </a:pPr>
            <a:r>
              <a:rPr lang="en-US" dirty="0"/>
              <a:t>Make sure you have created the </a:t>
            </a:r>
            <a:r>
              <a:rPr lang="en-US" dirty="0" err="1"/>
              <a:t>salesdb</a:t>
            </a:r>
            <a:r>
              <a:rPr lang="en-US" dirty="0"/>
              <a:t> from Module 1 and that the database has not the Standard S1 service tier</a:t>
            </a:r>
          </a:p>
          <a:p>
            <a:pPr marL="171450" indent="-171450">
              <a:buFont typeface="Arial" panose="020B0604020202020204" pitchFamily="34" charset="0"/>
              <a:buChar char="•"/>
            </a:pPr>
            <a:endParaRPr lang="en-US" dirty="0"/>
          </a:p>
          <a:p>
            <a:pPr marL="0" indent="0">
              <a:buFont typeface="Arial" panose="020B0604020202020204" pitchFamily="34" charset="0"/>
              <a:buNone/>
            </a:pPr>
            <a:r>
              <a:rPr lang="en-US" dirty="0"/>
              <a:t>The goal of this demo is to demonstrate how you can schedule a job with Azure Automation.</a:t>
            </a:r>
          </a:p>
          <a:p>
            <a:pPr marL="0" indent="0">
              <a:buFont typeface="Arial" panose="020B0604020202020204" pitchFamily="34" charset="0"/>
              <a:buNone/>
            </a:pPr>
            <a:r>
              <a:rPr lang="en-US" dirty="0"/>
              <a:t>You are going to create a runbook that will scale down a database service tier at the end of the day, so save costs</a:t>
            </a:r>
          </a:p>
          <a:p>
            <a:pPr marL="0" indent="0">
              <a:buFont typeface="Arial" panose="020B0604020202020204" pitchFamily="34" charset="0"/>
              <a:buNone/>
            </a:pPr>
            <a:endParaRPr lang="en-US" dirty="0"/>
          </a:p>
          <a:p>
            <a:pPr marL="0" indent="0">
              <a:buFont typeface="Arial" panose="020B0604020202020204" pitchFamily="34" charset="0"/>
              <a:buNone/>
            </a:pPr>
            <a:r>
              <a:rPr lang="en-US" b="1" dirty="0"/>
              <a:t>Steps Demo 1 – Create Automation Account</a:t>
            </a:r>
            <a:endParaRPr lang="en-US" b="0" dirty="0"/>
          </a:p>
          <a:p>
            <a:pPr marL="228600" indent="-228600">
              <a:buFont typeface="Arial" panose="020B0604020202020204" pitchFamily="34" charset="0"/>
              <a:buAutoNum type="arabicPeriod"/>
            </a:pPr>
            <a:r>
              <a:rPr lang="en-US" b="0" dirty="0"/>
              <a:t>Open the Azure Portal</a:t>
            </a:r>
          </a:p>
          <a:p>
            <a:pPr marL="228600" indent="-228600">
              <a:buFont typeface="Arial" panose="020B0604020202020204" pitchFamily="34" charset="0"/>
              <a:buAutoNum type="arabicPeriod"/>
            </a:pPr>
            <a:r>
              <a:rPr lang="en-US" b="0" dirty="0"/>
              <a:t>Click on Create a Resource and search for “Automation”</a:t>
            </a:r>
          </a:p>
          <a:p>
            <a:pPr marL="228600" indent="-228600">
              <a:buFont typeface="Arial" panose="020B0604020202020204" pitchFamily="34" charset="0"/>
              <a:buAutoNum type="arabicPeriod"/>
            </a:pPr>
            <a:r>
              <a:rPr lang="en-US" b="0" dirty="0"/>
              <a:t>Select Automation and click Create</a:t>
            </a:r>
          </a:p>
          <a:p>
            <a:pPr marL="445862" lvl="1" indent="-228600">
              <a:buFont typeface="Arial" panose="020B0604020202020204" pitchFamily="34" charset="0"/>
              <a:buAutoNum type="arabicPeriod"/>
            </a:pPr>
            <a:r>
              <a:rPr lang="en-US" b="0" dirty="0"/>
              <a:t>Name: </a:t>
            </a:r>
            <a:r>
              <a:rPr lang="en-US" b="0" dirty="0" err="1"/>
              <a:t>Myautomation</a:t>
            </a:r>
            <a:r>
              <a:rPr lang="en-US" b="0" dirty="0"/>
              <a:t> </a:t>
            </a:r>
          </a:p>
          <a:p>
            <a:pPr marL="445862" lvl="1" indent="-228600">
              <a:buFont typeface="Arial" panose="020B0604020202020204" pitchFamily="34" charset="0"/>
              <a:buAutoNum type="arabicPeriod"/>
            </a:pPr>
            <a:r>
              <a:rPr lang="en-US" b="0" dirty="0"/>
              <a:t>Subscription: Select your subscription </a:t>
            </a:r>
          </a:p>
          <a:p>
            <a:pPr marL="445862" lvl="1" indent="-228600">
              <a:buFont typeface="Arial" panose="020B0604020202020204" pitchFamily="34" charset="0"/>
              <a:buAutoNum type="arabicPeriod"/>
            </a:pPr>
            <a:r>
              <a:rPr lang="en-US" b="0" dirty="0"/>
              <a:t>Resource Group: use the existing one </a:t>
            </a:r>
            <a:r>
              <a:rPr lang="en-US" b="0" dirty="0" err="1"/>
              <a:t>AzureDB</a:t>
            </a:r>
            <a:r>
              <a:rPr lang="en-US" b="0" dirty="0"/>
              <a:t>-RG </a:t>
            </a:r>
          </a:p>
          <a:p>
            <a:pPr marL="445862" lvl="1" indent="-228600">
              <a:buFont typeface="Arial" panose="020B0604020202020204" pitchFamily="34" charset="0"/>
              <a:buAutoNum type="arabicPeriod"/>
            </a:pPr>
            <a:r>
              <a:rPr lang="en-US" b="0" dirty="0"/>
              <a:t>Location: Select the location that is the closest to your location </a:t>
            </a:r>
          </a:p>
          <a:p>
            <a:pPr marL="445862" lvl="1" indent="-228600">
              <a:buFont typeface="Arial" panose="020B0604020202020204" pitchFamily="34" charset="0"/>
              <a:buAutoNum type="arabicPeriod"/>
            </a:pPr>
            <a:r>
              <a:rPr lang="en-US" b="0" dirty="0"/>
              <a:t>Create Azure Run As Account: Yes </a:t>
            </a:r>
          </a:p>
          <a:p>
            <a:pPr marL="0" lvl="0" indent="0">
              <a:buFont typeface="Arial" panose="020B0604020202020204" pitchFamily="34" charset="0"/>
              <a:buNone/>
            </a:pPr>
            <a:endParaRPr lang="en-US" b="0" dirty="0"/>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b="1" dirty="0"/>
              <a:t>Steps Demo 2 – Create Runbook</a:t>
            </a:r>
          </a:p>
          <a:p>
            <a:pPr marL="228600" marR="0" lvl="0" indent="-228600" algn="l" defTabSz="932742" rtl="0" eaLnBrk="1" fontAlgn="auto" latinLnBrk="0" hangingPunct="1">
              <a:lnSpc>
                <a:spcPct val="90000"/>
              </a:lnSpc>
              <a:spcBef>
                <a:spcPts val="0"/>
              </a:spcBef>
              <a:spcAft>
                <a:spcPts val="340"/>
              </a:spcAft>
              <a:buClrTx/>
              <a:buSzTx/>
              <a:buFont typeface="Arial" panose="020B0604020202020204" pitchFamily="34" charset="0"/>
              <a:buAutoNum type="arabicPeriod"/>
              <a:tabLst/>
              <a:defRPr/>
            </a:pPr>
            <a:r>
              <a:rPr lang="en-US" b="0" dirty="0"/>
              <a:t>Click on the Automation Account and Runbooks</a:t>
            </a:r>
          </a:p>
          <a:p>
            <a:pPr marL="228600" marR="0" lvl="0" indent="-228600" algn="l" defTabSz="932742" rtl="0" eaLnBrk="1" fontAlgn="auto" latinLnBrk="0" hangingPunct="1">
              <a:lnSpc>
                <a:spcPct val="90000"/>
              </a:lnSpc>
              <a:spcBef>
                <a:spcPts val="0"/>
              </a:spcBef>
              <a:spcAft>
                <a:spcPts val="340"/>
              </a:spcAft>
              <a:buClrTx/>
              <a:buSzTx/>
              <a:buFont typeface="Arial" panose="020B0604020202020204" pitchFamily="34" charset="0"/>
              <a:buAutoNum type="arabicPeriod"/>
              <a:tabLst/>
              <a:defRPr/>
            </a:pPr>
            <a:r>
              <a:rPr lang="en-US" b="0" dirty="0"/>
              <a:t>Click the button Browse Gallery</a:t>
            </a:r>
          </a:p>
          <a:p>
            <a:pPr marL="228600" marR="0" lvl="0" indent="-228600" algn="l" defTabSz="932742" rtl="0" eaLnBrk="1" fontAlgn="auto" latinLnBrk="0" hangingPunct="1">
              <a:lnSpc>
                <a:spcPct val="90000"/>
              </a:lnSpc>
              <a:spcBef>
                <a:spcPts val="0"/>
              </a:spcBef>
              <a:spcAft>
                <a:spcPts val="340"/>
              </a:spcAft>
              <a:buClrTx/>
              <a:buSzTx/>
              <a:buFont typeface="Arial" panose="020B0604020202020204" pitchFamily="34" charset="0"/>
              <a:buAutoNum type="arabicPeriod"/>
              <a:tabLst/>
              <a:defRPr/>
            </a:pPr>
            <a:r>
              <a:rPr lang="en-US" b="0" dirty="0"/>
              <a:t>Search for “</a:t>
            </a:r>
            <a:r>
              <a:rPr lang="en-US" sz="900" b="1" i="0" u="none" strike="noStrike" kern="1200" dirty="0">
                <a:solidFill>
                  <a:schemeClr val="tx1"/>
                </a:solidFill>
                <a:effectLst/>
                <a:latin typeface="Segoe UI Light" pitchFamily="34" charset="0"/>
                <a:ea typeface="+mn-ea"/>
                <a:cs typeface="+mn-cs"/>
              </a:rPr>
              <a:t>Scale an Azure SQL DB to a specified edition and tier”</a:t>
            </a:r>
          </a:p>
          <a:p>
            <a:pPr marL="228600" marR="0" lvl="0" indent="-228600" algn="l" defTabSz="932742" rtl="0" eaLnBrk="1" fontAlgn="auto" latinLnBrk="0" hangingPunct="1">
              <a:lnSpc>
                <a:spcPct val="90000"/>
              </a:lnSpc>
              <a:spcBef>
                <a:spcPts val="0"/>
              </a:spcBef>
              <a:spcAft>
                <a:spcPts val="340"/>
              </a:spcAft>
              <a:buClrTx/>
              <a:buSzTx/>
              <a:buFont typeface="Arial" panose="020B0604020202020204" pitchFamily="34" charset="0"/>
              <a:buAutoNum type="arabicPeriod"/>
              <a:tabLst/>
              <a:defRPr/>
            </a:pPr>
            <a:r>
              <a:rPr lang="en-US" sz="900" b="0" i="0" u="none" strike="noStrike" kern="1200" dirty="0">
                <a:solidFill>
                  <a:schemeClr val="tx1"/>
                </a:solidFill>
                <a:effectLst/>
                <a:latin typeface="Segoe UI Light" pitchFamily="34" charset="0"/>
                <a:ea typeface="+mn-ea"/>
                <a:cs typeface="+mn-cs"/>
              </a:rPr>
              <a:t>Click Import</a:t>
            </a:r>
          </a:p>
          <a:p>
            <a:pPr marL="228600" marR="0" lvl="0" indent="-228600" algn="l" defTabSz="932742" rtl="0" eaLnBrk="1" fontAlgn="auto" latinLnBrk="0" hangingPunct="1">
              <a:lnSpc>
                <a:spcPct val="90000"/>
              </a:lnSpc>
              <a:spcBef>
                <a:spcPts val="0"/>
              </a:spcBef>
              <a:spcAft>
                <a:spcPts val="340"/>
              </a:spcAft>
              <a:buClrTx/>
              <a:buSzTx/>
              <a:buFont typeface="Arial" panose="020B0604020202020204" pitchFamily="34" charset="0"/>
              <a:buAutoNum type="arabicPeriod"/>
              <a:tabLst/>
              <a:defRPr/>
            </a:pPr>
            <a:r>
              <a:rPr lang="en-US" b="0" dirty="0"/>
              <a:t>Go to the runbook and click the Edit button</a:t>
            </a:r>
          </a:p>
          <a:p>
            <a:pPr marL="228600" marR="0" lvl="0" indent="-228600" algn="l" defTabSz="932742" rtl="0" eaLnBrk="1" fontAlgn="auto" latinLnBrk="0" hangingPunct="1">
              <a:lnSpc>
                <a:spcPct val="90000"/>
              </a:lnSpc>
              <a:spcBef>
                <a:spcPts val="0"/>
              </a:spcBef>
              <a:spcAft>
                <a:spcPts val="340"/>
              </a:spcAft>
              <a:buClrTx/>
              <a:buSzTx/>
              <a:buFont typeface="Arial" panose="020B0604020202020204" pitchFamily="34" charset="0"/>
              <a:buAutoNum type="arabicPeriod"/>
              <a:tabLst/>
              <a:defRPr/>
            </a:pPr>
            <a:r>
              <a:rPr lang="en-US" b="0" dirty="0"/>
              <a:t>Click the Publish button to publish the runbook</a:t>
            </a:r>
          </a:p>
          <a:p>
            <a:pPr marL="228600" marR="0" lvl="0" indent="-228600" algn="l" defTabSz="932742" rtl="0" eaLnBrk="1" fontAlgn="auto" latinLnBrk="0" hangingPunct="1">
              <a:lnSpc>
                <a:spcPct val="90000"/>
              </a:lnSpc>
              <a:spcBef>
                <a:spcPts val="0"/>
              </a:spcBef>
              <a:spcAft>
                <a:spcPts val="340"/>
              </a:spcAft>
              <a:buClrTx/>
              <a:buSzTx/>
              <a:buFont typeface="Arial" panose="020B0604020202020204" pitchFamily="34" charset="0"/>
              <a:buAutoNum type="arabicPeriod"/>
              <a:tabLst/>
              <a:defRPr/>
            </a:pPr>
            <a:endParaRPr lang="en-US" b="0" dirty="0"/>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b="1" dirty="0"/>
              <a:t>Steps Demo 3 – Schedule the Runbook</a:t>
            </a:r>
            <a:endParaRPr lang="en-US" b="0" dirty="0"/>
          </a:p>
          <a:p>
            <a:pPr marL="228600" marR="0" lvl="0" indent="-228600" algn="l" defTabSz="932742" rtl="0" eaLnBrk="1" fontAlgn="auto" latinLnBrk="0" hangingPunct="1">
              <a:lnSpc>
                <a:spcPct val="90000"/>
              </a:lnSpc>
              <a:spcBef>
                <a:spcPts val="0"/>
              </a:spcBef>
              <a:spcAft>
                <a:spcPts val="340"/>
              </a:spcAft>
              <a:buClrTx/>
              <a:buSzTx/>
              <a:buFont typeface="Arial" panose="020B0604020202020204" pitchFamily="34" charset="0"/>
              <a:buAutoNum type="arabicPeriod"/>
              <a:tabLst/>
              <a:defRPr/>
            </a:pPr>
            <a:r>
              <a:rPr lang="en-US" b="0" dirty="0"/>
              <a:t>Go to the Runbook and click the Schedule button</a:t>
            </a:r>
          </a:p>
          <a:p>
            <a:pPr marL="228600" marR="0" lvl="0" indent="-228600" algn="l" defTabSz="932742" rtl="0" eaLnBrk="1" fontAlgn="auto" latinLnBrk="0" hangingPunct="1">
              <a:lnSpc>
                <a:spcPct val="90000"/>
              </a:lnSpc>
              <a:spcBef>
                <a:spcPts val="0"/>
              </a:spcBef>
              <a:spcAft>
                <a:spcPts val="340"/>
              </a:spcAft>
              <a:buClrTx/>
              <a:buSzTx/>
              <a:buFont typeface="Arial" panose="020B0604020202020204" pitchFamily="34" charset="0"/>
              <a:buAutoNum type="arabicPeriod"/>
              <a:tabLst/>
              <a:defRPr/>
            </a:pPr>
            <a:r>
              <a:rPr lang="en-US" b="0" dirty="0"/>
              <a:t>Link a schedule to your runbook. Just setup a schedule like you should schedule a SQL job. Create a schedule on daily basis at 22:00</a:t>
            </a:r>
          </a:p>
          <a:p>
            <a:pPr marL="228600" marR="0" lvl="0" indent="-228600" algn="l" defTabSz="932742" rtl="0" eaLnBrk="1" fontAlgn="auto" latinLnBrk="0" hangingPunct="1">
              <a:lnSpc>
                <a:spcPct val="90000"/>
              </a:lnSpc>
              <a:spcBef>
                <a:spcPts val="0"/>
              </a:spcBef>
              <a:spcAft>
                <a:spcPts val="340"/>
              </a:spcAft>
              <a:buClrTx/>
              <a:buSzTx/>
              <a:buFont typeface="Arial" panose="020B0604020202020204" pitchFamily="34" charset="0"/>
              <a:buAutoNum type="arabicPeriod"/>
              <a:tabLst/>
              <a:defRPr/>
            </a:pPr>
            <a:r>
              <a:rPr lang="en-US" b="0" dirty="0"/>
              <a:t>Configure parameters and run settings</a:t>
            </a:r>
          </a:p>
          <a:p>
            <a:pPr marL="445862" marR="0" lvl="1" indent="-228600" algn="l" defTabSz="932742" rtl="0" eaLnBrk="1" fontAlgn="auto" latinLnBrk="0" hangingPunct="1">
              <a:lnSpc>
                <a:spcPct val="90000"/>
              </a:lnSpc>
              <a:spcBef>
                <a:spcPts val="0"/>
              </a:spcBef>
              <a:spcAft>
                <a:spcPts val="340"/>
              </a:spcAft>
              <a:buClrTx/>
              <a:buSzTx/>
              <a:buFont typeface="Arial" panose="020B0604020202020204" pitchFamily="34" charset="0"/>
              <a:buAutoNum type="arabicPeriod"/>
              <a:tabLst/>
              <a:defRPr/>
            </a:pPr>
            <a:r>
              <a:rPr lang="en-US" b="0" dirty="0"/>
              <a:t>RESOURCEGROUPNAME </a:t>
            </a:r>
            <a:r>
              <a:rPr lang="en-US" b="0" dirty="0">
                <a:sym typeface="Wingdings" panose="05000000000000000000" pitchFamily="2" charset="2"/>
              </a:rPr>
              <a:t> &lt;The name of the resource group where you have created your logical SQL Server&gt;</a:t>
            </a:r>
          </a:p>
          <a:p>
            <a:pPr marL="445862" marR="0" lvl="1" indent="-228600" algn="l" defTabSz="932742" rtl="0" eaLnBrk="1" fontAlgn="auto" latinLnBrk="0" hangingPunct="1">
              <a:lnSpc>
                <a:spcPct val="90000"/>
              </a:lnSpc>
              <a:spcBef>
                <a:spcPts val="0"/>
              </a:spcBef>
              <a:spcAft>
                <a:spcPts val="340"/>
              </a:spcAft>
              <a:buClrTx/>
              <a:buSzTx/>
              <a:buFont typeface="Arial" panose="020B0604020202020204" pitchFamily="34" charset="0"/>
              <a:buAutoNum type="arabicPeriod"/>
              <a:tabLst/>
              <a:defRPr/>
            </a:pPr>
            <a:r>
              <a:rPr lang="en-US" b="0" dirty="0">
                <a:sym typeface="Wingdings" panose="05000000000000000000" pitchFamily="2" charset="2"/>
              </a:rPr>
              <a:t>SERVERNAME  the name of your logical SQL Server. Just the name of the instance no need to add .database.windows.net</a:t>
            </a:r>
          </a:p>
          <a:p>
            <a:pPr marL="445862" marR="0" lvl="1" indent="-228600" algn="l" defTabSz="932742" rtl="0" eaLnBrk="1" fontAlgn="auto" latinLnBrk="0" hangingPunct="1">
              <a:lnSpc>
                <a:spcPct val="90000"/>
              </a:lnSpc>
              <a:spcBef>
                <a:spcPts val="0"/>
              </a:spcBef>
              <a:spcAft>
                <a:spcPts val="340"/>
              </a:spcAft>
              <a:buClrTx/>
              <a:buSzTx/>
              <a:buFont typeface="Arial" panose="020B0604020202020204" pitchFamily="34" charset="0"/>
              <a:buAutoNum type="arabicPeriod"/>
              <a:tabLst/>
              <a:defRPr/>
            </a:pPr>
            <a:r>
              <a:rPr lang="en-US" b="0" dirty="0" err="1">
                <a:sym typeface="Wingdings" panose="05000000000000000000" pitchFamily="2" charset="2"/>
              </a:rPr>
              <a:t>Databasename</a:t>
            </a:r>
            <a:r>
              <a:rPr lang="en-US" b="0" dirty="0">
                <a:sym typeface="Wingdings" panose="05000000000000000000" pitchFamily="2" charset="2"/>
              </a:rPr>
              <a:t>  </a:t>
            </a:r>
            <a:r>
              <a:rPr lang="en-US" b="0" dirty="0" err="1">
                <a:sym typeface="Wingdings" panose="05000000000000000000" pitchFamily="2" charset="2"/>
              </a:rPr>
              <a:t>Salesdb</a:t>
            </a:r>
            <a:endParaRPr lang="en-US" b="0" dirty="0">
              <a:sym typeface="Wingdings" panose="05000000000000000000" pitchFamily="2" charset="2"/>
            </a:endParaRPr>
          </a:p>
          <a:p>
            <a:pPr marL="445862" marR="0" lvl="1" indent="-228600" algn="l" defTabSz="932742" rtl="0" eaLnBrk="1" fontAlgn="auto" latinLnBrk="0" hangingPunct="1">
              <a:lnSpc>
                <a:spcPct val="90000"/>
              </a:lnSpc>
              <a:spcBef>
                <a:spcPts val="0"/>
              </a:spcBef>
              <a:spcAft>
                <a:spcPts val="340"/>
              </a:spcAft>
              <a:buClrTx/>
              <a:buSzTx/>
              <a:buFont typeface="Arial" panose="020B0604020202020204" pitchFamily="34" charset="0"/>
              <a:buAutoNum type="arabicPeriod"/>
              <a:tabLst/>
              <a:defRPr/>
            </a:pPr>
            <a:r>
              <a:rPr lang="en-US" b="0" dirty="0">
                <a:sym typeface="Wingdings" panose="05000000000000000000" pitchFamily="2" charset="2"/>
              </a:rPr>
              <a:t>DATABASEEDITION  Standard</a:t>
            </a:r>
          </a:p>
          <a:p>
            <a:pPr marL="445862" marR="0" lvl="1" indent="-228600" algn="l" defTabSz="932742" rtl="0" eaLnBrk="1" fontAlgn="auto" latinLnBrk="0" hangingPunct="1">
              <a:lnSpc>
                <a:spcPct val="90000"/>
              </a:lnSpc>
              <a:spcBef>
                <a:spcPts val="0"/>
              </a:spcBef>
              <a:spcAft>
                <a:spcPts val="340"/>
              </a:spcAft>
              <a:buClrTx/>
              <a:buSzTx/>
              <a:buFont typeface="Arial" panose="020B0604020202020204" pitchFamily="34" charset="0"/>
              <a:buAutoNum type="arabicPeriod"/>
              <a:tabLst/>
              <a:defRPr/>
            </a:pPr>
            <a:r>
              <a:rPr lang="en-US" b="0" dirty="0">
                <a:sym typeface="Wingdings" panose="05000000000000000000" pitchFamily="2" charset="2"/>
              </a:rPr>
              <a:t>PRICINGTIER  S1</a:t>
            </a:r>
          </a:p>
          <a:p>
            <a:pPr marL="228600" marR="0" lvl="0" indent="-228600" algn="l" defTabSz="932742" rtl="0" eaLnBrk="1" fontAlgn="auto" latinLnBrk="0" hangingPunct="1">
              <a:lnSpc>
                <a:spcPct val="90000"/>
              </a:lnSpc>
              <a:spcBef>
                <a:spcPts val="0"/>
              </a:spcBef>
              <a:spcAft>
                <a:spcPts val="340"/>
              </a:spcAft>
              <a:buClrTx/>
              <a:buSzTx/>
              <a:buFont typeface="Arial" panose="020B0604020202020204" pitchFamily="34" charset="0"/>
              <a:buAutoNum type="arabicPeriod"/>
              <a:tabLst/>
              <a:defRPr/>
            </a:pPr>
            <a:r>
              <a:rPr lang="en-US" b="0" dirty="0">
                <a:sym typeface="Wingdings" panose="05000000000000000000" pitchFamily="2" charset="2"/>
              </a:rPr>
              <a:t>Click OK to link the schedule to the runbook</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b="0" dirty="0"/>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b="1" dirty="0"/>
              <a:t>Steps Demo 4 – Start the Runbook manually</a:t>
            </a:r>
          </a:p>
          <a:p>
            <a:pPr marL="228600" marR="0" lvl="0" indent="-228600" algn="l" defTabSz="932742" rtl="0" eaLnBrk="1" fontAlgn="auto" latinLnBrk="0" hangingPunct="1">
              <a:lnSpc>
                <a:spcPct val="90000"/>
              </a:lnSpc>
              <a:spcBef>
                <a:spcPts val="0"/>
              </a:spcBef>
              <a:spcAft>
                <a:spcPts val="340"/>
              </a:spcAft>
              <a:buClrTx/>
              <a:buSzTx/>
              <a:buFont typeface="Arial" panose="020B0604020202020204" pitchFamily="34" charset="0"/>
              <a:buAutoNum type="arabicPeriod"/>
              <a:tabLst/>
              <a:defRPr/>
            </a:pPr>
            <a:r>
              <a:rPr lang="en-US" b="0" dirty="0"/>
              <a:t>Go to the runbook and click on the button Start</a:t>
            </a:r>
          </a:p>
          <a:p>
            <a:pPr marL="228600" marR="0" lvl="0" indent="-228600" algn="l" defTabSz="932742" rtl="0" eaLnBrk="1" fontAlgn="auto" latinLnBrk="0" hangingPunct="1">
              <a:lnSpc>
                <a:spcPct val="90000"/>
              </a:lnSpc>
              <a:spcBef>
                <a:spcPts val="0"/>
              </a:spcBef>
              <a:spcAft>
                <a:spcPts val="340"/>
              </a:spcAft>
              <a:buClrTx/>
              <a:buSzTx/>
              <a:buFont typeface="Arial" panose="020B0604020202020204" pitchFamily="34" charset="0"/>
              <a:buAutoNum type="arabicPeriod"/>
              <a:tabLst/>
              <a:defRPr/>
            </a:pPr>
            <a:r>
              <a:rPr lang="en-US" b="0" dirty="0"/>
              <a:t>Configure parameters and run settings</a:t>
            </a:r>
          </a:p>
          <a:p>
            <a:pPr marL="445862" marR="0" lvl="1" indent="-228600" algn="l" defTabSz="932742" rtl="0" eaLnBrk="1" fontAlgn="auto" latinLnBrk="0" hangingPunct="1">
              <a:lnSpc>
                <a:spcPct val="90000"/>
              </a:lnSpc>
              <a:spcBef>
                <a:spcPts val="0"/>
              </a:spcBef>
              <a:spcAft>
                <a:spcPts val="340"/>
              </a:spcAft>
              <a:buClrTx/>
              <a:buSzTx/>
              <a:buFont typeface="Arial" panose="020B0604020202020204" pitchFamily="34" charset="0"/>
              <a:buAutoNum type="arabicPeriod"/>
              <a:tabLst/>
              <a:defRPr/>
            </a:pPr>
            <a:r>
              <a:rPr lang="en-US" b="0" dirty="0"/>
              <a:t>RESOURCEGROUPNAME </a:t>
            </a:r>
            <a:r>
              <a:rPr lang="en-US" b="0" dirty="0">
                <a:sym typeface="Wingdings" panose="05000000000000000000" pitchFamily="2" charset="2"/>
              </a:rPr>
              <a:t> &lt;The name of the resource group where you have created your logical SQL Server&gt;</a:t>
            </a:r>
          </a:p>
          <a:p>
            <a:pPr marL="445862" marR="0" lvl="1" indent="-228600" algn="l" defTabSz="932742" rtl="0" eaLnBrk="1" fontAlgn="auto" latinLnBrk="0" hangingPunct="1">
              <a:lnSpc>
                <a:spcPct val="90000"/>
              </a:lnSpc>
              <a:spcBef>
                <a:spcPts val="0"/>
              </a:spcBef>
              <a:spcAft>
                <a:spcPts val="340"/>
              </a:spcAft>
              <a:buClrTx/>
              <a:buSzTx/>
              <a:buFont typeface="Arial" panose="020B0604020202020204" pitchFamily="34" charset="0"/>
              <a:buAutoNum type="arabicPeriod"/>
              <a:tabLst/>
              <a:defRPr/>
            </a:pPr>
            <a:r>
              <a:rPr lang="en-US" b="0" dirty="0">
                <a:sym typeface="Wingdings" panose="05000000000000000000" pitchFamily="2" charset="2"/>
              </a:rPr>
              <a:t>SERVERNAME  the name of your logical SQL Server. Just the name of the instance no need to add .database.windows.net</a:t>
            </a:r>
          </a:p>
          <a:p>
            <a:pPr marL="445862" marR="0" lvl="1" indent="-228600" algn="l" defTabSz="932742" rtl="0" eaLnBrk="1" fontAlgn="auto" latinLnBrk="0" hangingPunct="1">
              <a:lnSpc>
                <a:spcPct val="90000"/>
              </a:lnSpc>
              <a:spcBef>
                <a:spcPts val="0"/>
              </a:spcBef>
              <a:spcAft>
                <a:spcPts val="340"/>
              </a:spcAft>
              <a:buClrTx/>
              <a:buSzTx/>
              <a:buFont typeface="Arial" panose="020B0604020202020204" pitchFamily="34" charset="0"/>
              <a:buAutoNum type="arabicPeriod"/>
              <a:tabLst/>
              <a:defRPr/>
            </a:pPr>
            <a:r>
              <a:rPr lang="en-US" b="0" dirty="0" err="1">
                <a:sym typeface="Wingdings" panose="05000000000000000000" pitchFamily="2" charset="2"/>
              </a:rPr>
              <a:t>Databasename</a:t>
            </a:r>
            <a:r>
              <a:rPr lang="en-US" b="0" dirty="0">
                <a:sym typeface="Wingdings" panose="05000000000000000000" pitchFamily="2" charset="2"/>
              </a:rPr>
              <a:t>  </a:t>
            </a:r>
            <a:r>
              <a:rPr lang="en-US" b="0" dirty="0" err="1">
                <a:sym typeface="Wingdings" panose="05000000000000000000" pitchFamily="2" charset="2"/>
              </a:rPr>
              <a:t>Salesdb</a:t>
            </a:r>
            <a:endParaRPr lang="en-US" b="0" dirty="0">
              <a:sym typeface="Wingdings" panose="05000000000000000000" pitchFamily="2" charset="2"/>
            </a:endParaRPr>
          </a:p>
          <a:p>
            <a:pPr marL="445862" marR="0" lvl="1" indent="-228600" algn="l" defTabSz="932742" rtl="0" eaLnBrk="1" fontAlgn="auto" latinLnBrk="0" hangingPunct="1">
              <a:lnSpc>
                <a:spcPct val="90000"/>
              </a:lnSpc>
              <a:spcBef>
                <a:spcPts val="0"/>
              </a:spcBef>
              <a:spcAft>
                <a:spcPts val="340"/>
              </a:spcAft>
              <a:buClrTx/>
              <a:buSzTx/>
              <a:buFont typeface="Arial" panose="020B0604020202020204" pitchFamily="34" charset="0"/>
              <a:buAutoNum type="arabicPeriod"/>
              <a:tabLst/>
              <a:defRPr/>
            </a:pPr>
            <a:r>
              <a:rPr lang="en-US" b="0" dirty="0">
                <a:sym typeface="Wingdings" panose="05000000000000000000" pitchFamily="2" charset="2"/>
              </a:rPr>
              <a:t>DATABASEEDITION  Standard</a:t>
            </a:r>
          </a:p>
          <a:p>
            <a:pPr marL="445862" marR="0" lvl="1" indent="-228600" algn="l" defTabSz="932742" rtl="0" eaLnBrk="1" fontAlgn="auto" latinLnBrk="0" hangingPunct="1">
              <a:lnSpc>
                <a:spcPct val="90000"/>
              </a:lnSpc>
              <a:spcBef>
                <a:spcPts val="0"/>
              </a:spcBef>
              <a:spcAft>
                <a:spcPts val="340"/>
              </a:spcAft>
              <a:buClrTx/>
              <a:buSzTx/>
              <a:buFont typeface="Arial" panose="020B0604020202020204" pitchFamily="34" charset="0"/>
              <a:buAutoNum type="arabicPeriod"/>
              <a:tabLst/>
              <a:defRPr/>
            </a:pPr>
            <a:r>
              <a:rPr lang="en-US" b="0" dirty="0">
                <a:sym typeface="Wingdings" panose="05000000000000000000" pitchFamily="2" charset="2"/>
              </a:rPr>
              <a:t>PRICINGTIER  S1</a:t>
            </a:r>
          </a:p>
          <a:p>
            <a:pPr marL="228600" marR="0" lvl="0" indent="-228600" algn="l" defTabSz="932742" rtl="0" eaLnBrk="1" fontAlgn="auto" latinLnBrk="0" hangingPunct="1">
              <a:lnSpc>
                <a:spcPct val="90000"/>
              </a:lnSpc>
              <a:spcBef>
                <a:spcPts val="0"/>
              </a:spcBef>
              <a:spcAft>
                <a:spcPts val="340"/>
              </a:spcAft>
              <a:buClrTx/>
              <a:buSzTx/>
              <a:buFont typeface="Arial" panose="020B0604020202020204" pitchFamily="34" charset="0"/>
              <a:buAutoNum type="arabicPeriod"/>
              <a:tabLst/>
              <a:defRPr/>
            </a:pPr>
            <a:r>
              <a:rPr lang="en-US" b="0" dirty="0"/>
              <a:t>Click on the Output button to show the </a:t>
            </a:r>
            <a:r>
              <a:rPr lang="en-US" b="0" dirty="0" err="1"/>
              <a:t>outpot</a:t>
            </a:r>
            <a:r>
              <a:rPr lang="en-US" b="0" dirty="0"/>
              <a:t> of the job</a:t>
            </a:r>
          </a:p>
          <a:p>
            <a:pPr marL="228600" marR="0" lvl="0" indent="-228600" algn="l" defTabSz="932742" rtl="0" eaLnBrk="1" fontAlgn="auto" latinLnBrk="0" hangingPunct="1">
              <a:lnSpc>
                <a:spcPct val="90000"/>
              </a:lnSpc>
              <a:spcBef>
                <a:spcPts val="0"/>
              </a:spcBef>
              <a:spcAft>
                <a:spcPts val="340"/>
              </a:spcAft>
              <a:buClrTx/>
              <a:buSzTx/>
              <a:buFont typeface="Arial" panose="020B0604020202020204" pitchFamily="34" charset="0"/>
              <a:buAutoNum type="arabicPeriod"/>
              <a:tabLst/>
              <a:defRPr/>
            </a:pPr>
            <a:r>
              <a:rPr lang="en-US" b="0" dirty="0"/>
              <a:t>Wait until the job is finished</a:t>
            </a:r>
          </a:p>
          <a:p>
            <a:pPr marL="228600" marR="0" lvl="0" indent="-228600" algn="l" defTabSz="932742" rtl="0" eaLnBrk="1" fontAlgn="auto" latinLnBrk="0" hangingPunct="1">
              <a:lnSpc>
                <a:spcPct val="90000"/>
              </a:lnSpc>
              <a:spcBef>
                <a:spcPts val="0"/>
              </a:spcBef>
              <a:spcAft>
                <a:spcPts val="340"/>
              </a:spcAft>
              <a:buClrTx/>
              <a:buSzTx/>
              <a:buFont typeface="Arial" panose="020B0604020202020204" pitchFamily="34" charset="0"/>
              <a:buAutoNum type="arabicPeriod"/>
              <a:tabLst/>
              <a:defRPr/>
            </a:pPr>
            <a:r>
              <a:rPr lang="en-US" b="0" dirty="0"/>
              <a:t>Verify if your database is now on Standard S1</a:t>
            </a:r>
          </a:p>
          <a:p>
            <a:pPr marL="228600" marR="0" lvl="0" indent="-228600" algn="l" defTabSz="932742" rtl="0" eaLnBrk="1" fontAlgn="auto" latinLnBrk="0" hangingPunct="1">
              <a:lnSpc>
                <a:spcPct val="90000"/>
              </a:lnSpc>
              <a:spcBef>
                <a:spcPts val="0"/>
              </a:spcBef>
              <a:spcAft>
                <a:spcPts val="340"/>
              </a:spcAft>
              <a:buClrTx/>
              <a:buSzTx/>
              <a:buFont typeface="Arial" panose="020B0604020202020204" pitchFamily="34" charset="0"/>
              <a:buAutoNum type="arabicPeriod"/>
              <a:tabLst/>
              <a:defRPr/>
            </a:pPr>
            <a:endParaRPr lang="en-US" b="0" dirty="0"/>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b="0" dirty="0"/>
          </a:p>
          <a:p>
            <a:pPr marL="228600" marR="0" lvl="0" indent="-228600" algn="l" defTabSz="932742" rtl="0" eaLnBrk="1" fontAlgn="auto" latinLnBrk="0" hangingPunct="1">
              <a:lnSpc>
                <a:spcPct val="90000"/>
              </a:lnSpc>
              <a:spcBef>
                <a:spcPts val="0"/>
              </a:spcBef>
              <a:spcAft>
                <a:spcPts val="340"/>
              </a:spcAft>
              <a:buClrTx/>
              <a:buSzTx/>
              <a:buFont typeface="Arial" panose="020B0604020202020204" pitchFamily="34" charset="0"/>
              <a:buAutoNum type="arabicPeriod"/>
              <a:tabLst/>
              <a:defRPr/>
            </a:pPr>
            <a:endParaRPr lang="en-US" b="1" dirty="0"/>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b="0" dirty="0"/>
          </a:p>
          <a:p>
            <a:pPr marL="0" lvl="0" indent="0">
              <a:buFont typeface="Arial" panose="020B0604020202020204" pitchFamily="34" charset="0"/>
              <a:buNone/>
            </a:pPr>
            <a:endParaRPr lang="en-US" b="0" dirty="0"/>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02942111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202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47112205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Question 1: </a:t>
            </a:r>
            <a:r>
              <a:rPr lang="en-US" sz="900" dirty="0">
                <a:solidFill>
                  <a:srgbClr val="FFFFFF"/>
                </a:solidFill>
              </a:rPr>
              <a:t>True or False; Index maintenance still needs to be done by the DBA</a:t>
            </a:r>
            <a:endParaRPr kumimoji="0" lang="EN-US" sz="900" b="0" i="0" u="none" strike="noStrike" kern="1200" cap="none" spc="0" normalizeH="0" baseline="0" noProof="0" dirty="0">
              <a:ln>
                <a:noFill/>
              </a:ln>
              <a:solidFill>
                <a:srgbClr val="FFFFFF"/>
              </a:solidFill>
              <a:effectLst/>
              <a:uLnTx/>
              <a:uFillTx/>
              <a:latin typeface="+mn-lt"/>
              <a:ea typeface="+mn-ea"/>
              <a:cs typeface="+mn-cs"/>
            </a:endParaRPr>
          </a:p>
          <a:p>
            <a:r>
              <a:rPr lang="en-US" dirty="0"/>
              <a:t>Answer 1</a:t>
            </a:r>
            <a:r>
              <a:rPr lang="en-US" baseline="0" dirty="0"/>
              <a:t>: True; </a:t>
            </a:r>
            <a:r>
              <a:rPr lang="en-US" dirty="0"/>
              <a:t>maintenance still needs to be done by the DBA</a:t>
            </a:r>
          </a:p>
          <a:p>
            <a:endParaRPr lang="en-US" baseline="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baseline="0" dirty="0"/>
              <a:t>Question 2: </a:t>
            </a:r>
            <a:r>
              <a:rPr lang="en-US" sz="900" dirty="0">
                <a:solidFill>
                  <a:srgbClr val="FFFFFF"/>
                </a:solidFill>
              </a:rPr>
              <a:t>True or False; SQL Server Jobs are scheduled as in on premises using SQL Server Agent for Azure SQL database</a:t>
            </a:r>
            <a:endParaRPr kumimoji="0" lang="en-US" sz="900" b="0" i="0" u="none" strike="noStrike" kern="1200" cap="none" spc="0" normalizeH="0" baseline="0" noProof="0" dirty="0">
              <a:ln>
                <a:noFill/>
              </a:ln>
              <a:solidFill>
                <a:srgbClr val="505050"/>
              </a:solidFill>
              <a:effectLst/>
              <a:uLnTx/>
              <a:uFillTx/>
              <a:latin typeface="+mn-lt"/>
              <a:ea typeface="+mn-ea"/>
              <a:cs typeface="+mn-cs"/>
            </a:endParaRPr>
          </a:p>
          <a:p>
            <a:r>
              <a:rPr lang="en-US" baseline="0" dirty="0"/>
              <a:t>Answer 2: False; SQL Server Agent is unavailable in AZURE SQL DB</a:t>
            </a:r>
          </a:p>
          <a:p>
            <a:endParaRPr lang="en-US" baseline="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baseline="0" dirty="0"/>
              <a:t>Question 3: </a:t>
            </a:r>
            <a:r>
              <a:rPr lang="en-US" sz="900" dirty="0"/>
              <a:t>Why should you use Elastic Jobs. Give some examples</a:t>
            </a:r>
            <a:r>
              <a:rPr kumimoji="0" lang="en-US" sz="900" b="0" i="0" u="none" strike="noStrike" kern="1200" cap="none" spc="0" normalizeH="0" baseline="0" noProof="0" dirty="0">
                <a:ln>
                  <a:noFill/>
                </a:ln>
                <a:solidFill>
                  <a:srgbClr val="FFFFFF"/>
                </a:solidFill>
                <a:effectLst/>
                <a:uLnTx/>
                <a:uFillTx/>
                <a:latin typeface="+mn-lt"/>
                <a:ea typeface="+mn-ea"/>
                <a:cs typeface="+mn-cs"/>
              </a:rPr>
              <a:t>?</a:t>
            </a:r>
            <a:endParaRPr lang="en-US" baseline="0" dirty="0"/>
          </a:p>
          <a:p>
            <a:r>
              <a:rPr lang="en-US" baseline="0" dirty="0"/>
              <a:t>Answer 3:</a:t>
            </a:r>
          </a:p>
          <a:p>
            <a:r>
              <a:rPr lang="en-US" dirty="0"/>
              <a:t>Manage</a:t>
            </a:r>
          </a:p>
          <a:p>
            <a:pPr lvl="1"/>
            <a:r>
              <a:rPr lang="en-US" dirty="0"/>
              <a:t>Easily do schema changes, credentials management, reference data updates, performance data collection or tenant (customer) telemetry collection.</a:t>
            </a:r>
          </a:p>
          <a:p>
            <a:r>
              <a:rPr lang="en-US" dirty="0"/>
              <a:t>Reports</a:t>
            </a:r>
          </a:p>
          <a:p>
            <a:pPr lvl="1"/>
            <a:r>
              <a:rPr lang="en-US" dirty="0"/>
              <a:t>Aggregate data from a collection of Azure SQL Databases into a single destination table.</a:t>
            </a:r>
          </a:p>
          <a:p>
            <a:r>
              <a:rPr lang="en-US" dirty="0"/>
              <a:t>Reduce Overhead</a:t>
            </a:r>
          </a:p>
          <a:p>
            <a:pPr lvl="1"/>
            <a:r>
              <a:rPr lang="en-US" dirty="0"/>
              <a:t>No need to connect to each DB separately</a:t>
            </a:r>
          </a:p>
          <a:p>
            <a:pPr lvl="1"/>
            <a:r>
              <a:rPr lang="en-US" dirty="0"/>
              <a:t>Scripts are executed against a group of databases</a:t>
            </a:r>
          </a:p>
          <a:p>
            <a:r>
              <a:rPr lang="en-US" dirty="0"/>
              <a:t>Flexibility</a:t>
            </a:r>
          </a:p>
          <a:p>
            <a:pPr lvl="1"/>
            <a:r>
              <a:rPr lang="en-US" dirty="0"/>
              <a:t>Define custom groups of Azure SQL Databases, and define schedules for running a job</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4</a:t>
            </a:fld>
            <a:endParaRPr lang="en-US" noProof="0"/>
          </a:p>
        </p:txBody>
      </p:sp>
    </p:spTree>
    <p:extLst>
      <p:ext uri="{BB962C8B-B14F-4D97-AF65-F5344CB8AC3E}">
        <p14:creationId xmlns:p14="http://schemas.microsoft.com/office/powerpoint/2010/main" val="204298302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nl-BE" dirty="0"/>
              <a:t>In this lesson we will be covering the architecture of Azure SQL Database and discussing the different purchase models including the service tiers and the concept of DTUs (Database Transaction Units). </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5</a:t>
            </a:fld>
            <a:endParaRPr lang="en-US" noProof="0"/>
          </a:p>
        </p:txBody>
      </p:sp>
    </p:spTree>
    <p:extLst>
      <p:ext uri="{BB962C8B-B14F-4D97-AF65-F5344CB8AC3E}">
        <p14:creationId xmlns:p14="http://schemas.microsoft.com/office/powerpoint/2010/main" val="26254697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Azure Data Studio is a cross-platform database tool for data professionals running on Windows, MacOS, and Linux which offers a modern editor experience with </a:t>
            </a:r>
            <a:r>
              <a:rPr lang="en-US" dirty="0" err="1"/>
              <a:t>Intellisense</a:t>
            </a:r>
            <a:r>
              <a:rPr lang="en-US" dirty="0"/>
              <a:t>, code snippets, source control integration, and an integrated terminal. It is engineered with built in charting of query result sets and customizable dashboards.</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8</a:t>
            </a:fld>
            <a:endParaRPr lang="en-US" noProof="0"/>
          </a:p>
        </p:txBody>
      </p:sp>
    </p:spTree>
    <p:extLst>
      <p:ext uri="{BB962C8B-B14F-4D97-AF65-F5344CB8AC3E}">
        <p14:creationId xmlns:p14="http://schemas.microsoft.com/office/powerpoint/2010/main" val="87293210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202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45346867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800" b="1" i="0" kern="1200" dirty="0">
                <a:solidFill>
                  <a:schemeClr val="tx1"/>
                </a:solidFill>
                <a:effectLst/>
                <a:latin typeface="Segoe UI Light" pitchFamily="34" charset="0"/>
                <a:ea typeface="+mn-ea"/>
                <a:cs typeface="+mn-cs"/>
              </a:rPr>
              <a:t>Use read-only replicas to load balance read-only query workloads (preview)</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800" b="1" i="0"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s-ES" sz="800" b="0" i="0" kern="1200" dirty="0">
                <a:solidFill>
                  <a:schemeClr val="tx1"/>
                </a:solidFill>
                <a:effectLst/>
                <a:latin typeface="Segoe UI Light" pitchFamily="34" charset="0"/>
                <a:ea typeface="+mn-ea"/>
                <a:cs typeface="+mn-cs"/>
              </a:rPr>
              <a:t>Premium and </a:t>
            </a:r>
            <a:r>
              <a:rPr lang="en-US" sz="800" b="0" i="0" kern="1200" dirty="0">
                <a:solidFill>
                  <a:schemeClr val="tx1"/>
                </a:solidFill>
                <a:effectLst/>
                <a:latin typeface="Segoe UI Light" pitchFamily="34" charset="0"/>
                <a:ea typeface="+mn-ea"/>
                <a:cs typeface="+mn-cs"/>
              </a:rPr>
              <a:t>Business Critical service tiers provides free-of-charge read-only replica in read-only state that can be used for reporting purpose, for example. </a:t>
            </a:r>
            <a:endParaRPr lang="en-US" sz="800" b="1" i="0"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800" b="0" i="0" kern="1200" dirty="0">
                <a:solidFill>
                  <a:schemeClr val="tx1"/>
                </a:solidFill>
                <a:effectLst/>
                <a:latin typeface="Segoe UI Light" pitchFamily="34" charset="0"/>
                <a:ea typeface="+mn-ea"/>
                <a:cs typeface="+mn-cs"/>
              </a:rPr>
              <a:t>Note: Only ONE replica is used, the feature does not use all the available read-only replicas and does not load balance them.</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800" b="0" i="0"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800" b="0" i="0" kern="1200" dirty="0">
                <a:solidFill>
                  <a:schemeClr val="tx1"/>
                </a:solidFill>
                <a:effectLst/>
                <a:latin typeface="Segoe UI Light" pitchFamily="34" charset="0"/>
                <a:ea typeface="+mn-ea"/>
                <a:cs typeface="+mn-cs"/>
              </a:rPr>
              <a:t>Although the term “load balance” is used here in the notes and in public documentation, it should be noted that there is no true load balancing.  Connections with </a:t>
            </a:r>
            <a:r>
              <a:rPr lang="en-US" sz="800" b="0" i="0" kern="1200" dirty="0" err="1">
                <a:solidFill>
                  <a:schemeClr val="tx1"/>
                </a:solidFill>
                <a:effectLst/>
                <a:latin typeface="Segoe UI Light" pitchFamily="34" charset="0"/>
                <a:ea typeface="+mn-ea"/>
                <a:cs typeface="+mn-cs"/>
              </a:rPr>
              <a:t>ApplicationIntent</a:t>
            </a:r>
            <a:r>
              <a:rPr lang="en-US" sz="800" b="0" i="0" kern="1200" dirty="0">
                <a:solidFill>
                  <a:schemeClr val="tx1"/>
                </a:solidFill>
                <a:effectLst/>
                <a:latin typeface="Segoe UI Light" pitchFamily="34" charset="0"/>
                <a:ea typeface="+mn-ea"/>
                <a:cs typeface="+mn-cs"/>
              </a:rPr>
              <a:t>=</a:t>
            </a:r>
            <a:r>
              <a:rPr lang="en-US" sz="800" b="0" i="0" kern="1200" dirty="0" err="1">
                <a:solidFill>
                  <a:schemeClr val="tx1"/>
                </a:solidFill>
                <a:effectLst/>
                <a:latin typeface="Segoe UI Light" pitchFamily="34" charset="0"/>
                <a:ea typeface="+mn-ea"/>
                <a:cs typeface="+mn-cs"/>
              </a:rPr>
              <a:t>ReadOnly</a:t>
            </a:r>
            <a:r>
              <a:rPr lang="en-US" sz="800" b="0" i="0" kern="1200" dirty="0">
                <a:solidFill>
                  <a:schemeClr val="tx1"/>
                </a:solidFill>
                <a:effectLst/>
                <a:latin typeface="Segoe UI Light" pitchFamily="34" charset="0"/>
                <a:ea typeface="+mn-ea"/>
                <a:cs typeface="+mn-cs"/>
              </a:rPr>
              <a:t> are simply redirected to the secondary replica without regard to workload or connection requests to the primary.  This allows you to scale out only.  This is not to be confused with read scale out in AGs nor round robin load balancing in an AG in SQL16+.</a:t>
            </a:r>
          </a:p>
          <a:p>
            <a:pPr marL="0" marR="0" lvl="0" indent="0" algn="l" defTabSz="932742" rtl="0" eaLnBrk="1" fontAlgn="auto" latinLnBrk="0" hangingPunct="1">
              <a:lnSpc>
                <a:spcPct val="90000"/>
              </a:lnSpc>
              <a:spcBef>
                <a:spcPts val="0"/>
              </a:spcBef>
              <a:spcAft>
                <a:spcPts val="340"/>
              </a:spcAft>
              <a:buClrTx/>
              <a:buSzTx/>
              <a:buFontTx/>
              <a:buNone/>
              <a:tabLst/>
              <a:defRPr/>
            </a:pPr>
            <a:endParaRPr lang="nl-BE" dirty="0"/>
          </a:p>
          <a:p>
            <a:pPr marL="0" marR="0" lvl="0" indent="0" algn="l" defTabSz="932742" rtl="0" eaLnBrk="1" fontAlgn="auto" latinLnBrk="0" hangingPunct="1">
              <a:lnSpc>
                <a:spcPct val="90000"/>
              </a:lnSpc>
              <a:spcBef>
                <a:spcPts val="0"/>
              </a:spcBef>
              <a:spcAft>
                <a:spcPts val="340"/>
              </a:spcAft>
              <a:buClrTx/>
              <a:buSzTx/>
              <a:buFontTx/>
              <a:buNone/>
              <a:tabLst/>
              <a:defRPr/>
            </a:pPr>
            <a:r>
              <a:rPr lang="nl-BE" dirty="0"/>
              <a:t>https://docs.microsoft.com/en-us/azure/sql-database/sql-database-read-scale-out</a:t>
            </a:r>
          </a:p>
          <a:p>
            <a:pPr marL="0" marR="0" lvl="0" indent="0" algn="l" defTabSz="932742" rtl="0" eaLnBrk="1" fontAlgn="auto" latinLnBrk="0" hangingPunct="1">
              <a:lnSpc>
                <a:spcPct val="90000"/>
              </a:lnSpc>
              <a:spcBef>
                <a:spcPts val="0"/>
              </a:spcBef>
              <a:spcAft>
                <a:spcPts val="340"/>
              </a:spcAft>
              <a:buClrTx/>
              <a:buSzTx/>
              <a:buFontTx/>
              <a:buNone/>
              <a:tabLst/>
              <a:defRPr/>
            </a:pPr>
            <a:endParaRPr lang="nl-BE" dirty="0"/>
          </a:p>
          <a:p>
            <a:endParaRPr lang="nl-BE"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7</a:t>
            </a:fld>
            <a:endParaRPr lang="en-US" noProof="0"/>
          </a:p>
        </p:txBody>
      </p:sp>
    </p:spTree>
    <p:extLst>
      <p:ext uri="{BB962C8B-B14F-4D97-AF65-F5344CB8AC3E}">
        <p14:creationId xmlns:p14="http://schemas.microsoft.com/office/powerpoint/2010/main" val="343430665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Each database in the Premium tier (DTU-based purchasing model) or in the Business Critical tier (</a:t>
            </a:r>
            <a:r>
              <a:rPr lang="en-US" dirty="0" err="1"/>
              <a:t>vCore</a:t>
            </a:r>
            <a:r>
              <a:rPr lang="en-US" dirty="0"/>
              <a:t>-based purchasing model) is automatically provisioned with several </a:t>
            </a:r>
            <a:r>
              <a:rPr lang="en-US" dirty="0" err="1"/>
              <a:t>AlwaysON</a:t>
            </a:r>
            <a:r>
              <a:rPr lang="en-US" dirty="0"/>
              <a:t> replicas to support the availability SLA.</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These replicas are provisioned with the same compute size as the read-write replica used by the regular database connections. </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The Read Scale-Out feature allows you to load balance SQL Database read-only workloads using the capacity of one of the read-only replicas instead of sharing the read-write replica.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This way the read-only workload will be isolated from the main read-write workload and will not affect its performance.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The feature is intended for the applications that include logically separated read-only workloads, such as analytics, and therefore could gain performance benefits using this additional capacity at no extra cost.</a:t>
            </a:r>
            <a:endParaRPr lang="nl-BE"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8</a:t>
            </a:fld>
            <a:endParaRPr lang="en-US" noProof="0"/>
          </a:p>
        </p:txBody>
      </p:sp>
    </p:spTree>
    <p:extLst>
      <p:ext uri="{BB962C8B-B14F-4D97-AF65-F5344CB8AC3E}">
        <p14:creationId xmlns:p14="http://schemas.microsoft.com/office/powerpoint/2010/main" val="203973059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Read Scale-Out is enabled by default in Managed Instance Business Critical tier. </a:t>
            </a:r>
          </a:p>
          <a:p>
            <a:pPr lvl="0"/>
            <a:r>
              <a:rPr lang="en-US" dirty="0"/>
              <a:t>It should be explicitly enabled in database placed on SQL Database server Premium and Business Critical tiers. </a:t>
            </a:r>
          </a:p>
          <a:p>
            <a:pPr lvl="0"/>
            <a:endParaRPr lang="en-US" dirty="0"/>
          </a:p>
          <a:p>
            <a:pPr lvl="0"/>
            <a:r>
              <a:rPr lang="en-US" dirty="0"/>
              <a:t>If Read Scale-Out is disabled or you set the </a:t>
            </a:r>
            <a:r>
              <a:rPr lang="en-US" dirty="0" err="1"/>
              <a:t>ReadScale</a:t>
            </a:r>
            <a:r>
              <a:rPr lang="en-US" dirty="0"/>
              <a:t> property in an unsupported service tier, all connections are directed to the read-write replica, independent of the </a:t>
            </a:r>
            <a:r>
              <a:rPr lang="en-US" dirty="0" err="1"/>
              <a:t>ApplicationIntent</a:t>
            </a:r>
            <a:r>
              <a:rPr lang="en-US" dirty="0"/>
              <a:t> property.</a:t>
            </a:r>
          </a:p>
          <a:p>
            <a:pPr lvl="0"/>
            <a:endParaRPr lang="en-US" dirty="0"/>
          </a:p>
          <a:p>
            <a:r>
              <a:rPr lang="en-US" sz="800" b="1" i="0" u="sng" kern="1200" dirty="0">
                <a:solidFill>
                  <a:schemeClr val="tx1"/>
                </a:solidFill>
                <a:effectLst/>
                <a:latin typeface="Segoe UI Light" pitchFamily="34" charset="0"/>
                <a:ea typeface="+mn-ea"/>
                <a:cs typeface="+mn-cs"/>
              </a:rPr>
              <a:t>Note</a:t>
            </a:r>
            <a:r>
              <a:rPr lang="en-US" sz="800" b="1" i="0" kern="1200" dirty="0">
                <a:solidFill>
                  <a:schemeClr val="tx1"/>
                </a:solidFill>
                <a:effectLst/>
                <a:latin typeface="Segoe UI Light" pitchFamily="34" charset="0"/>
                <a:ea typeface="+mn-ea"/>
                <a:cs typeface="+mn-cs"/>
              </a:rPr>
              <a:t>: </a:t>
            </a:r>
            <a:r>
              <a:rPr lang="en-US" sz="800" b="0" i="0" kern="1200" dirty="0">
                <a:solidFill>
                  <a:schemeClr val="tx1"/>
                </a:solidFill>
                <a:effectLst/>
                <a:latin typeface="Segoe UI Light" pitchFamily="34" charset="0"/>
                <a:ea typeface="+mn-ea"/>
                <a:cs typeface="+mn-cs"/>
              </a:rPr>
              <a:t>Geo-replicated databases will be covered in detail in module 3: Azure SQL Database Business Continuity.</a:t>
            </a:r>
          </a:p>
          <a:p>
            <a:endParaRPr lang="en-US" sz="800" b="1" i="0" kern="1200" dirty="0">
              <a:solidFill>
                <a:schemeClr val="tx1"/>
              </a:solidFill>
              <a:effectLst/>
              <a:latin typeface="Segoe UI Light" pitchFamily="34" charset="0"/>
              <a:ea typeface="+mn-ea"/>
              <a:cs typeface="+mn-cs"/>
            </a:endParaRPr>
          </a:p>
          <a:p>
            <a:r>
              <a:rPr lang="en-US" sz="800" b="1" i="0" kern="1200" dirty="0">
                <a:solidFill>
                  <a:schemeClr val="tx1"/>
                </a:solidFill>
                <a:effectLst/>
                <a:latin typeface="Segoe UI Light" pitchFamily="34" charset="0"/>
                <a:ea typeface="+mn-ea"/>
                <a:cs typeface="+mn-cs"/>
              </a:rPr>
              <a:t>Using Read Scale-Out with geo-replicated databases</a:t>
            </a:r>
          </a:p>
          <a:p>
            <a:r>
              <a:rPr lang="en-US" sz="800" b="0" i="0" kern="1200" dirty="0">
                <a:solidFill>
                  <a:schemeClr val="tx1"/>
                </a:solidFill>
                <a:effectLst/>
                <a:latin typeface="Segoe UI Light" pitchFamily="34" charset="0"/>
                <a:ea typeface="+mn-ea"/>
                <a:cs typeface="+mn-cs"/>
              </a:rPr>
              <a:t>If you are using read scale-out to load balance read-only workloads on a database that is geo-replicated (e.g. as a member of a failover group), make sure that read scale-out is enabled on both the primary and the geo-replicated secondary databases. This will </a:t>
            </a:r>
            <a:r>
              <a:rPr lang="en-US" sz="800" b="1" i="0" kern="1200" dirty="0">
                <a:solidFill>
                  <a:schemeClr val="tx1"/>
                </a:solidFill>
                <a:effectLst/>
                <a:latin typeface="Segoe UI Light" pitchFamily="34" charset="0"/>
                <a:ea typeface="+mn-ea"/>
                <a:cs typeface="+mn-cs"/>
              </a:rPr>
              <a:t>ensure the same load-balancing effect when your application connects to the new primary after failover</a:t>
            </a:r>
            <a:r>
              <a:rPr lang="en-US" sz="800" b="0" i="0" kern="1200" dirty="0">
                <a:solidFill>
                  <a:schemeClr val="tx1"/>
                </a:solidFill>
                <a:effectLst/>
                <a:latin typeface="Segoe UI Light" pitchFamily="34" charset="0"/>
                <a:ea typeface="+mn-ea"/>
                <a:cs typeface="+mn-cs"/>
              </a:rPr>
              <a:t>. If you are connecting to the geo-replicated secondary database with read-scale enabled, your sessions with </a:t>
            </a:r>
            <a:r>
              <a:rPr lang="en-US" sz="800" b="0" i="0" kern="1200" dirty="0" err="1">
                <a:solidFill>
                  <a:schemeClr val="tx1"/>
                </a:solidFill>
                <a:effectLst/>
                <a:latin typeface="Segoe UI Light" pitchFamily="34" charset="0"/>
                <a:ea typeface="+mn-ea"/>
                <a:cs typeface="+mn-cs"/>
              </a:rPr>
              <a:t>ApplicationIntent</a:t>
            </a:r>
            <a:r>
              <a:rPr lang="en-US" sz="800" b="0" i="0" kern="1200" dirty="0">
                <a:solidFill>
                  <a:schemeClr val="tx1"/>
                </a:solidFill>
                <a:effectLst/>
                <a:latin typeface="Segoe UI Light" pitchFamily="34" charset="0"/>
                <a:ea typeface="+mn-ea"/>
                <a:cs typeface="+mn-cs"/>
              </a:rPr>
              <a:t>=</a:t>
            </a:r>
            <a:r>
              <a:rPr lang="en-US" sz="800" b="0" i="0" kern="1200" dirty="0" err="1">
                <a:solidFill>
                  <a:schemeClr val="tx1"/>
                </a:solidFill>
                <a:effectLst/>
                <a:latin typeface="Segoe UI Light" pitchFamily="34" charset="0"/>
                <a:ea typeface="+mn-ea"/>
                <a:cs typeface="+mn-cs"/>
              </a:rPr>
              <a:t>ReadOnly</a:t>
            </a:r>
            <a:r>
              <a:rPr lang="en-US" sz="800" b="0" i="0" kern="1200" dirty="0">
                <a:solidFill>
                  <a:schemeClr val="tx1"/>
                </a:solidFill>
                <a:effectLst/>
                <a:latin typeface="Segoe UI Light" pitchFamily="34" charset="0"/>
                <a:ea typeface="+mn-ea"/>
                <a:cs typeface="+mn-cs"/>
              </a:rPr>
              <a:t> will be routed to one of the replicas the same way we route connections on the primary database. The sessions without </a:t>
            </a:r>
            <a:r>
              <a:rPr lang="en-US" sz="800" b="0" i="0" kern="1200" dirty="0" err="1">
                <a:solidFill>
                  <a:schemeClr val="tx1"/>
                </a:solidFill>
                <a:effectLst/>
                <a:latin typeface="Segoe UI Light" pitchFamily="34" charset="0"/>
                <a:ea typeface="+mn-ea"/>
                <a:cs typeface="+mn-cs"/>
              </a:rPr>
              <a:t>ApplicationIntent</a:t>
            </a:r>
            <a:r>
              <a:rPr lang="en-US" sz="800" b="0" i="0" kern="1200" dirty="0">
                <a:solidFill>
                  <a:schemeClr val="tx1"/>
                </a:solidFill>
                <a:effectLst/>
                <a:latin typeface="Segoe UI Light" pitchFamily="34" charset="0"/>
                <a:ea typeface="+mn-ea"/>
                <a:cs typeface="+mn-cs"/>
              </a:rPr>
              <a:t>=</a:t>
            </a:r>
            <a:r>
              <a:rPr lang="en-US" sz="800" b="0" i="0" kern="1200" dirty="0" err="1">
                <a:solidFill>
                  <a:schemeClr val="tx1"/>
                </a:solidFill>
                <a:effectLst/>
                <a:latin typeface="Segoe UI Light" pitchFamily="34" charset="0"/>
                <a:ea typeface="+mn-ea"/>
                <a:cs typeface="+mn-cs"/>
              </a:rPr>
              <a:t>ReadOnly</a:t>
            </a:r>
            <a:r>
              <a:rPr lang="en-US" sz="800" b="0" i="0" kern="1200" dirty="0">
                <a:solidFill>
                  <a:schemeClr val="tx1"/>
                </a:solidFill>
                <a:effectLst/>
                <a:latin typeface="Segoe UI Light" pitchFamily="34" charset="0"/>
                <a:ea typeface="+mn-ea"/>
                <a:cs typeface="+mn-cs"/>
              </a:rPr>
              <a:t> will be routed to the primary replica of the geo-replicated secondary, which is also read-only. Because geo-replicated secondary database has a different end-point than the primary database, historically to access the secondary it wasn't required to set </a:t>
            </a:r>
            <a:r>
              <a:rPr lang="en-US" sz="800" b="0" i="0" kern="1200" dirty="0" err="1">
                <a:solidFill>
                  <a:schemeClr val="tx1"/>
                </a:solidFill>
                <a:effectLst/>
                <a:latin typeface="Segoe UI Light" pitchFamily="34" charset="0"/>
                <a:ea typeface="+mn-ea"/>
                <a:cs typeface="+mn-cs"/>
              </a:rPr>
              <a:t>ApplicationIntent</a:t>
            </a:r>
            <a:r>
              <a:rPr lang="en-US" sz="800" b="0" i="0" kern="1200" dirty="0">
                <a:solidFill>
                  <a:schemeClr val="tx1"/>
                </a:solidFill>
                <a:effectLst/>
                <a:latin typeface="Segoe UI Light" pitchFamily="34" charset="0"/>
                <a:ea typeface="+mn-ea"/>
                <a:cs typeface="+mn-cs"/>
              </a:rPr>
              <a:t>=</a:t>
            </a:r>
            <a:r>
              <a:rPr lang="en-US" sz="800" b="0" i="0" kern="1200" dirty="0" err="1">
                <a:solidFill>
                  <a:schemeClr val="tx1"/>
                </a:solidFill>
                <a:effectLst/>
                <a:latin typeface="Segoe UI Light" pitchFamily="34" charset="0"/>
                <a:ea typeface="+mn-ea"/>
                <a:cs typeface="+mn-cs"/>
              </a:rPr>
              <a:t>ReadOnly</a:t>
            </a:r>
            <a:r>
              <a:rPr lang="en-US" sz="800" b="0" i="0" kern="1200" dirty="0">
                <a:solidFill>
                  <a:schemeClr val="tx1"/>
                </a:solidFill>
                <a:effectLst/>
                <a:latin typeface="Segoe UI Light" pitchFamily="34" charset="0"/>
                <a:ea typeface="+mn-ea"/>
                <a:cs typeface="+mn-cs"/>
              </a:rPr>
              <a:t>. To ensure backward compatibility, </a:t>
            </a:r>
            <a:r>
              <a:rPr lang="en-US" sz="800" b="0" i="0" kern="1200" dirty="0" err="1">
                <a:solidFill>
                  <a:schemeClr val="tx1"/>
                </a:solidFill>
                <a:effectLst/>
                <a:latin typeface="Segoe UI Light" pitchFamily="34" charset="0"/>
                <a:ea typeface="+mn-ea"/>
                <a:cs typeface="+mn-cs"/>
              </a:rPr>
              <a:t>sys.geo_replication_links</a:t>
            </a:r>
            <a:r>
              <a:rPr lang="en-US" sz="800" b="0" i="0" kern="1200" dirty="0">
                <a:solidFill>
                  <a:schemeClr val="tx1"/>
                </a:solidFill>
                <a:effectLst/>
                <a:latin typeface="Segoe UI Light" pitchFamily="34" charset="0"/>
                <a:ea typeface="+mn-ea"/>
                <a:cs typeface="+mn-cs"/>
              </a:rPr>
              <a:t> DMV shows </a:t>
            </a:r>
            <a:r>
              <a:rPr lang="en-US" sz="800" b="0" i="0" kern="1200" dirty="0" err="1">
                <a:solidFill>
                  <a:schemeClr val="tx1"/>
                </a:solidFill>
                <a:effectLst/>
                <a:latin typeface="Segoe UI Light" pitchFamily="34" charset="0"/>
                <a:ea typeface="+mn-ea"/>
                <a:cs typeface="+mn-cs"/>
              </a:rPr>
              <a:t>secondary_allow_connections</a:t>
            </a:r>
            <a:r>
              <a:rPr lang="en-US" sz="800" b="0" i="0" kern="1200" dirty="0">
                <a:solidFill>
                  <a:schemeClr val="tx1"/>
                </a:solidFill>
                <a:effectLst/>
                <a:latin typeface="Segoe UI Light" pitchFamily="34" charset="0"/>
                <a:ea typeface="+mn-ea"/>
                <a:cs typeface="+mn-cs"/>
              </a:rPr>
              <a:t>=2 (any client connection is allowed).</a:t>
            </a:r>
          </a:p>
          <a:p>
            <a:r>
              <a:rPr lang="en-US" sz="800" b="1" i="0" kern="1200" dirty="0">
                <a:solidFill>
                  <a:schemeClr val="tx1"/>
                </a:solidFill>
                <a:effectLst/>
                <a:latin typeface="Segoe UI Light" pitchFamily="34" charset="0"/>
                <a:ea typeface="+mn-ea"/>
                <a:cs typeface="+mn-cs"/>
              </a:rPr>
              <a:t> Note</a:t>
            </a:r>
          </a:p>
          <a:p>
            <a:r>
              <a:rPr lang="en-US" sz="800" b="0" i="0" kern="1200" dirty="0">
                <a:solidFill>
                  <a:schemeClr val="tx1"/>
                </a:solidFill>
                <a:effectLst/>
                <a:latin typeface="Segoe UI Light" pitchFamily="34" charset="0"/>
                <a:ea typeface="+mn-ea"/>
                <a:cs typeface="+mn-cs"/>
              </a:rPr>
              <a:t>Round-robin or any other load balanced routing between the local replicas of the secondary database is not supported.</a:t>
            </a:r>
          </a:p>
          <a:p>
            <a:pPr rtl="0"/>
            <a:endParaRPr lang="en-US" sz="800" b="0" i="0" kern="1200" dirty="0">
              <a:solidFill>
                <a:schemeClr val="tx1"/>
              </a:solidFill>
              <a:effectLst/>
              <a:latin typeface="Segoe UI Light" pitchFamily="34" charset="0"/>
              <a:ea typeface="+mn-ea"/>
              <a:cs typeface="+mn-cs"/>
            </a:endParaRPr>
          </a:p>
          <a:p>
            <a:pPr rtl="0"/>
            <a:r>
              <a:rPr lang="en-US" sz="800" b="1" i="0" u="sng" kern="1200" dirty="0">
                <a:solidFill>
                  <a:schemeClr val="tx1"/>
                </a:solidFill>
                <a:effectLst/>
                <a:latin typeface="Segoe UI Light" pitchFamily="34" charset="0"/>
                <a:ea typeface="+mn-ea"/>
                <a:cs typeface="+mn-cs"/>
              </a:rPr>
              <a:t>Note:</a:t>
            </a:r>
            <a:r>
              <a:rPr lang="en-US" sz="800" b="0" i="0" kern="1200" dirty="0">
                <a:solidFill>
                  <a:schemeClr val="tx1"/>
                </a:solidFill>
                <a:effectLst/>
                <a:latin typeface="Segoe UI Light" pitchFamily="34" charset="0"/>
                <a:ea typeface="+mn-ea"/>
                <a:cs typeface="+mn-cs"/>
              </a:rPr>
              <a:t> Query Data Store and Extended Events are not supported on the read-only replicas.</a:t>
            </a:r>
          </a:p>
          <a:p>
            <a:pPr rtl="0"/>
            <a:endParaRPr lang="en-US" sz="800" b="0" i="0" kern="1200" dirty="0">
              <a:solidFill>
                <a:schemeClr val="tx1"/>
              </a:solidFill>
              <a:effectLst/>
              <a:latin typeface="Segoe UI Light" pitchFamily="34" charset="0"/>
              <a:ea typeface="+mn-ea"/>
              <a:cs typeface="+mn-cs"/>
            </a:endParaRPr>
          </a:p>
          <a:p>
            <a:pPr lvl="0"/>
            <a:endParaRPr lang="en-US" dirty="0"/>
          </a:p>
          <a:p>
            <a:pPr lvl="0"/>
            <a:endParaRPr lang="es-E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9</a:t>
            </a:fld>
            <a:endParaRPr lang="en-US" noProof="0"/>
          </a:p>
        </p:txBody>
      </p:sp>
    </p:spTree>
    <p:extLst>
      <p:ext uri="{BB962C8B-B14F-4D97-AF65-F5344CB8AC3E}">
        <p14:creationId xmlns:p14="http://schemas.microsoft.com/office/powerpoint/2010/main" val="383027068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202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1800" dirty="0">
                <a:solidFill>
                  <a:srgbClr val="000000"/>
                </a:solidFill>
                <a:latin typeface="Consolas" panose="020B0609020204030204" pitchFamily="49" charset="0"/>
              </a:rPr>
              <a:t>M02L04Demo01</a:t>
            </a:r>
          </a:p>
          <a:p>
            <a:endParaRPr lang="en-US" b="1" dirty="0"/>
          </a:p>
          <a:p>
            <a:r>
              <a:rPr lang="en-US" b="1" dirty="0"/>
              <a:t>Demo setup instructions</a:t>
            </a:r>
          </a:p>
          <a:p>
            <a:pPr marL="171450" indent="-171450">
              <a:buFont typeface="Arial" panose="020B0604020202020204" pitchFamily="34" charset="0"/>
              <a:buChar char="•"/>
            </a:pPr>
            <a:r>
              <a:rPr lang="en-US" dirty="0"/>
              <a:t>Make sure you have created the </a:t>
            </a:r>
            <a:r>
              <a:rPr lang="en-US" dirty="0" err="1"/>
              <a:t>salesdb</a:t>
            </a:r>
            <a:r>
              <a:rPr lang="en-US" dirty="0"/>
              <a:t> from Module 1.</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b="1" baseline="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b="1" baseline="0" dirty="0"/>
              <a:t>Step 1: </a:t>
            </a:r>
            <a:r>
              <a:rPr lang="en-US" sz="800" b="1" dirty="0"/>
              <a:t>Enabling a database with read scale-out</a:t>
            </a:r>
          </a:p>
          <a:p>
            <a:pPr marL="228600" indent="-228600">
              <a:buAutoNum type="arabicPeriod"/>
            </a:pPr>
            <a:r>
              <a:rPr lang="en-US" sz="800" kern="1200" dirty="0">
                <a:solidFill>
                  <a:schemeClr val="tx1"/>
                </a:solidFill>
                <a:latin typeface="Segoe UI Light" pitchFamily="34" charset="0"/>
                <a:ea typeface="+mn-ea"/>
                <a:cs typeface="+mn-cs"/>
              </a:rPr>
              <a:t>Connect to the Azure Portal</a:t>
            </a:r>
          </a:p>
          <a:p>
            <a:pPr marL="228600" indent="-228600">
              <a:buAutoNum type="arabicPeriod"/>
            </a:pPr>
            <a:r>
              <a:rPr lang="en-US" sz="800" kern="1200" dirty="0">
                <a:solidFill>
                  <a:schemeClr val="tx1"/>
                </a:solidFill>
                <a:latin typeface="Segoe UI Light" pitchFamily="34" charset="0"/>
                <a:ea typeface="+mn-ea"/>
                <a:cs typeface="+mn-cs"/>
              </a:rPr>
              <a:t>Navigate to SQL Databases &gt; </a:t>
            </a:r>
            <a:r>
              <a:rPr lang="en-US" dirty="0" err="1"/>
              <a:t>salesdb</a:t>
            </a:r>
            <a:r>
              <a:rPr lang="en-US" dirty="0"/>
              <a:t> &gt; Settings/Configure &gt; Premium &gt; Read scale-out: Enabled &gt; Apply</a:t>
            </a:r>
            <a:endParaRPr lang="en-US" sz="800" kern="1200" dirty="0">
              <a:solidFill>
                <a:schemeClr val="tx1"/>
              </a:solidFill>
              <a:latin typeface="Segoe UI Light" pitchFamily="34" charset="0"/>
              <a:ea typeface="+mn-ea"/>
              <a:cs typeface="+mn-cs"/>
            </a:endParaRPr>
          </a:p>
          <a:p>
            <a:pPr marL="228600" indent="-228600">
              <a:buAutoNum type="arabicPeriod"/>
            </a:pPr>
            <a:r>
              <a:rPr lang="en-US" sz="800" kern="1200" dirty="0">
                <a:solidFill>
                  <a:schemeClr val="tx1"/>
                </a:solidFill>
                <a:latin typeface="Segoe UI Light" pitchFamily="34" charset="0"/>
                <a:ea typeface="+mn-ea"/>
                <a:cs typeface="+mn-cs"/>
              </a:rPr>
              <a:t>This changes the tier from Standard to Premium since Read Scale-out is only available in Premium, so it could take some time as we also scale up a tier.</a:t>
            </a:r>
          </a:p>
          <a:p>
            <a:pPr marL="228600" indent="-228600">
              <a:buAutoNum type="arabicPeriod"/>
            </a:pPr>
            <a:endParaRPr lang="en-US" sz="800" kern="1200" dirty="0">
              <a:solidFill>
                <a:schemeClr val="tx1"/>
              </a:solidFill>
              <a:latin typeface="Segoe UI Light" pitchFamily="34" charset="0"/>
              <a:ea typeface="+mn-ea"/>
              <a:cs typeface="+mn-cs"/>
            </a:endParaRPr>
          </a:p>
          <a:p>
            <a:pPr marL="0" indent="0">
              <a:buNone/>
            </a:pPr>
            <a:r>
              <a:rPr lang="en-US" b="1" baseline="0" dirty="0"/>
              <a:t>Step 2: </a:t>
            </a:r>
            <a:r>
              <a:rPr lang="en-US" sz="800" kern="1200" dirty="0">
                <a:solidFill>
                  <a:schemeClr val="tx1"/>
                </a:solidFill>
                <a:latin typeface="Segoe UI Light" pitchFamily="34" charset="0"/>
                <a:ea typeface="+mn-ea"/>
                <a:cs typeface="+mn-cs"/>
              </a:rPr>
              <a:t>Connecting to a Read Scale-Out replica</a:t>
            </a:r>
          </a:p>
          <a:p>
            <a:pPr marL="228600" indent="-228600">
              <a:buFont typeface="+mj-lt"/>
              <a:buAutoNum type="arabicPeriod"/>
            </a:pPr>
            <a:r>
              <a:rPr lang="en-US" sz="800" kern="1200" dirty="0">
                <a:solidFill>
                  <a:schemeClr val="tx1"/>
                </a:solidFill>
                <a:latin typeface="Segoe UI Light" pitchFamily="34" charset="0"/>
                <a:ea typeface="+mn-ea"/>
                <a:cs typeface="+mn-cs"/>
              </a:rPr>
              <a:t>Connect to the database using SSMS</a:t>
            </a:r>
            <a:br>
              <a:rPr lang="en-US" sz="800" kern="1200" dirty="0">
                <a:solidFill>
                  <a:schemeClr val="tx1"/>
                </a:solidFill>
                <a:latin typeface="Segoe UI Light" pitchFamily="34" charset="0"/>
                <a:ea typeface="+mn-ea"/>
                <a:cs typeface="+mn-cs"/>
              </a:rPr>
            </a:br>
            <a:r>
              <a:rPr lang="en-US" sz="800" kern="1200" dirty="0">
                <a:solidFill>
                  <a:schemeClr val="tx1"/>
                </a:solidFill>
                <a:latin typeface="Segoe UI Light" pitchFamily="34" charset="0"/>
                <a:ea typeface="+mn-ea"/>
                <a:cs typeface="+mn-cs"/>
              </a:rPr>
              <a:t>Server name: myazuresrv.database.windows.net</a:t>
            </a:r>
            <a:br>
              <a:rPr lang="en-US" sz="800" kern="1200" dirty="0">
                <a:solidFill>
                  <a:schemeClr val="tx1"/>
                </a:solidFill>
                <a:latin typeface="Segoe UI Light" pitchFamily="34" charset="0"/>
                <a:ea typeface="+mn-ea"/>
                <a:cs typeface="+mn-cs"/>
              </a:rPr>
            </a:br>
            <a:r>
              <a:rPr lang="en-US" sz="800" kern="1200" dirty="0">
                <a:solidFill>
                  <a:schemeClr val="tx1"/>
                </a:solidFill>
                <a:latin typeface="Segoe UI Light" pitchFamily="34" charset="0"/>
                <a:ea typeface="+mn-ea"/>
                <a:cs typeface="+mn-cs"/>
              </a:rPr>
              <a:t>Authentication: SQL Server Authentication</a:t>
            </a:r>
            <a:br>
              <a:rPr lang="en-US" sz="800" kern="1200" dirty="0">
                <a:solidFill>
                  <a:schemeClr val="tx1"/>
                </a:solidFill>
                <a:latin typeface="Segoe UI Light" pitchFamily="34" charset="0"/>
                <a:ea typeface="+mn-ea"/>
                <a:cs typeface="+mn-cs"/>
              </a:rPr>
            </a:br>
            <a:r>
              <a:rPr lang="en-US" sz="800" kern="1200" dirty="0">
                <a:solidFill>
                  <a:schemeClr val="tx1"/>
                </a:solidFill>
                <a:latin typeface="Segoe UI Light" pitchFamily="34" charset="0"/>
                <a:ea typeface="+mn-ea"/>
                <a:cs typeface="+mn-cs"/>
              </a:rPr>
              <a:t>Login: </a:t>
            </a:r>
            <a:r>
              <a:rPr lang="en-US" sz="800" kern="1200" dirty="0" err="1">
                <a:solidFill>
                  <a:schemeClr val="tx1"/>
                </a:solidFill>
                <a:latin typeface="Segoe UI Light" pitchFamily="34" charset="0"/>
                <a:ea typeface="+mn-ea"/>
                <a:cs typeface="+mn-cs"/>
              </a:rPr>
              <a:t>AzureAdmin</a:t>
            </a:r>
            <a:br>
              <a:rPr lang="en-US" sz="800" kern="1200" dirty="0">
                <a:solidFill>
                  <a:schemeClr val="tx1"/>
                </a:solidFill>
                <a:latin typeface="Segoe UI Light" pitchFamily="34" charset="0"/>
                <a:ea typeface="+mn-ea"/>
                <a:cs typeface="+mn-cs"/>
              </a:rPr>
            </a:br>
            <a:r>
              <a:rPr lang="en-US" sz="800" kern="1200" dirty="0">
                <a:solidFill>
                  <a:schemeClr val="tx1"/>
                </a:solidFill>
                <a:latin typeface="Segoe UI Light" pitchFamily="34" charset="0"/>
                <a:ea typeface="+mn-ea"/>
                <a:cs typeface="+mn-cs"/>
              </a:rPr>
              <a:t>Password: Passw0rd1</a:t>
            </a:r>
            <a:br>
              <a:rPr lang="en-US" sz="800" kern="1200" dirty="0">
                <a:solidFill>
                  <a:schemeClr val="tx1"/>
                </a:solidFill>
                <a:latin typeface="Segoe UI Light" pitchFamily="34" charset="0"/>
                <a:ea typeface="+mn-ea"/>
                <a:cs typeface="+mn-cs"/>
              </a:rPr>
            </a:br>
            <a:r>
              <a:rPr lang="en-US" sz="800" kern="1200" dirty="0">
                <a:solidFill>
                  <a:schemeClr val="tx1"/>
                </a:solidFill>
                <a:latin typeface="Segoe UI Light" pitchFamily="34" charset="0"/>
                <a:ea typeface="+mn-ea"/>
                <a:cs typeface="+mn-cs"/>
              </a:rPr>
              <a:t>Navigate to </a:t>
            </a:r>
            <a:r>
              <a:rPr lang="en-US" sz="800" kern="1200" dirty="0" err="1">
                <a:solidFill>
                  <a:schemeClr val="tx1"/>
                </a:solidFill>
                <a:latin typeface="Segoe UI Light" pitchFamily="34" charset="0"/>
                <a:ea typeface="+mn-ea"/>
                <a:cs typeface="+mn-cs"/>
              </a:rPr>
              <a:t>salesdb</a:t>
            </a:r>
            <a:r>
              <a:rPr lang="en-US" sz="800" kern="1200" dirty="0">
                <a:solidFill>
                  <a:schemeClr val="tx1"/>
                </a:solidFill>
                <a:latin typeface="Segoe UI Light" pitchFamily="34" charset="0"/>
                <a:ea typeface="+mn-ea"/>
                <a:cs typeface="+mn-cs"/>
              </a:rPr>
              <a:t> &gt; Right Click &gt; New Query</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800" kern="1200" dirty="0">
                <a:solidFill>
                  <a:schemeClr val="tx1"/>
                </a:solidFill>
                <a:latin typeface="Segoe UI Light" pitchFamily="34" charset="0"/>
                <a:ea typeface="+mn-ea"/>
                <a:cs typeface="+mn-cs"/>
              </a:rPr>
              <a:t>Execute the following command:</a:t>
            </a:r>
            <a:br>
              <a:rPr lang="en-US" sz="800" kern="1200" dirty="0">
                <a:solidFill>
                  <a:schemeClr val="tx1"/>
                </a:solidFill>
                <a:latin typeface="Segoe UI Light" pitchFamily="34" charset="0"/>
                <a:ea typeface="+mn-ea"/>
                <a:cs typeface="+mn-cs"/>
              </a:rPr>
            </a:br>
            <a:r>
              <a:rPr lang="en-US" sz="800" kern="1200" dirty="0">
                <a:solidFill>
                  <a:schemeClr val="tx1"/>
                </a:solidFill>
                <a:latin typeface="Segoe UI Light" pitchFamily="34" charset="0"/>
                <a:ea typeface="+mn-ea"/>
                <a:cs typeface="+mn-cs"/>
              </a:rPr>
              <a:t>SELECT DATABASEPROPERTYEX(DB_NAME(), 'Updateability’)</a:t>
            </a:r>
            <a:br>
              <a:rPr lang="en-US" sz="800" kern="1200" dirty="0">
                <a:solidFill>
                  <a:schemeClr val="tx1"/>
                </a:solidFill>
                <a:latin typeface="Segoe UI Light" pitchFamily="34" charset="0"/>
                <a:ea typeface="+mn-ea"/>
                <a:cs typeface="+mn-cs"/>
              </a:rPr>
            </a:br>
            <a:r>
              <a:rPr lang="en-US" sz="800" kern="1200" dirty="0">
                <a:solidFill>
                  <a:schemeClr val="tx1"/>
                </a:solidFill>
                <a:latin typeface="Segoe UI Light" pitchFamily="34" charset="0"/>
                <a:ea typeface="+mn-ea"/>
                <a:cs typeface="+mn-cs"/>
              </a:rPr>
              <a:t>By default the query will be directed to the READ_WRITE replica</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800" kern="1200" dirty="0">
                <a:solidFill>
                  <a:schemeClr val="tx1"/>
                </a:solidFill>
                <a:latin typeface="Segoe UI Light" pitchFamily="34" charset="0"/>
                <a:ea typeface="+mn-ea"/>
                <a:cs typeface="+mn-cs"/>
              </a:rPr>
              <a:t>Right click in the query window (keep all the information in the Login tab as it was in the previous connection) &gt; Options &gt;&gt;&gt; in the </a:t>
            </a:r>
            <a:r>
              <a:rPr lang="en-US" sz="800" b="1" kern="1200" dirty="0">
                <a:solidFill>
                  <a:schemeClr val="tx1"/>
                </a:solidFill>
                <a:latin typeface="Segoe UI Light" pitchFamily="34" charset="0"/>
                <a:ea typeface="+mn-ea"/>
                <a:cs typeface="+mn-cs"/>
              </a:rPr>
              <a:t>Connection Properties </a:t>
            </a:r>
            <a:r>
              <a:rPr lang="en-US" sz="800" kern="1200" dirty="0">
                <a:solidFill>
                  <a:schemeClr val="tx1"/>
                </a:solidFill>
                <a:latin typeface="Segoe UI Light" pitchFamily="34" charset="0"/>
                <a:ea typeface="+mn-ea"/>
                <a:cs typeface="+mn-cs"/>
              </a:rPr>
              <a:t>&gt; Connect to database: </a:t>
            </a:r>
            <a:r>
              <a:rPr lang="en-US" sz="800" b="1" kern="1200" dirty="0" err="1">
                <a:solidFill>
                  <a:schemeClr val="tx1"/>
                </a:solidFill>
                <a:latin typeface="Segoe UI Light" pitchFamily="34" charset="0"/>
                <a:ea typeface="+mn-ea"/>
                <a:cs typeface="+mn-cs"/>
              </a:rPr>
              <a:t>salesdb</a:t>
            </a:r>
            <a:r>
              <a:rPr lang="en-US" sz="800" b="0" kern="1200" dirty="0">
                <a:solidFill>
                  <a:schemeClr val="tx1"/>
                </a:solidFill>
                <a:latin typeface="Segoe UI Light" pitchFamily="34" charset="0"/>
                <a:ea typeface="+mn-ea"/>
                <a:cs typeface="+mn-cs"/>
              </a:rPr>
              <a:t>, in the </a:t>
            </a:r>
            <a:r>
              <a:rPr lang="en-US" sz="800" b="1" kern="1200" dirty="0">
                <a:solidFill>
                  <a:schemeClr val="tx1"/>
                </a:solidFill>
                <a:latin typeface="Segoe UI Light" pitchFamily="34" charset="0"/>
                <a:ea typeface="+mn-ea"/>
                <a:cs typeface="+mn-cs"/>
              </a:rPr>
              <a:t>Additional Connection Parameters &gt; </a:t>
            </a:r>
            <a:r>
              <a:rPr lang="en-US" sz="800" b="0" kern="1200" dirty="0">
                <a:solidFill>
                  <a:schemeClr val="tx1"/>
                </a:solidFill>
                <a:latin typeface="Segoe UI Light" pitchFamily="34" charset="0"/>
                <a:ea typeface="+mn-ea"/>
                <a:cs typeface="+mn-cs"/>
              </a:rPr>
              <a:t>add the following parameter:</a:t>
            </a:r>
            <a:r>
              <a:rPr lang="en-US" sz="800" b="1" kern="1200" dirty="0">
                <a:solidFill>
                  <a:schemeClr val="tx1"/>
                </a:solidFill>
                <a:latin typeface="Segoe UI Light" pitchFamily="34" charset="0"/>
                <a:ea typeface="+mn-ea"/>
                <a:cs typeface="+mn-cs"/>
              </a:rPr>
              <a:t> </a:t>
            </a:r>
            <a:r>
              <a:rPr lang="es-ES" sz="800" b="1" i="0" kern="1200" dirty="0" err="1">
                <a:solidFill>
                  <a:schemeClr val="tx1"/>
                </a:solidFill>
                <a:effectLst/>
                <a:latin typeface="Segoe UI Light" pitchFamily="34" charset="0"/>
                <a:ea typeface="+mn-ea"/>
                <a:cs typeface="+mn-cs"/>
              </a:rPr>
              <a:t>ApplicationIntent</a:t>
            </a:r>
            <a:r>
              <a:rPr lang="es-ES" sz="800" b="1" i="0" kern="1200" dirty="0">
                <a:solidFill>
                  <a:schemeClr val="tx1"/>
                </a:solidFill>
                <a:effectLst/>
                <a:latin typeface="Segoe UI Light" pitchFamily="34" charset="0"/>
                <a:ea typeface="+mn-ea"/>
                <a:cs typeface="+mn-cs"/>
              </a:rPr>
              <a:t>=</a:t>
            </a:r>
            <a:r>
              <a:rPr lang="es-ES" sz="800" b="1" i="0" kern="1200" dirty="0" err="1">
                <a:solidFill>
                  <a:schemeClr val="tx1"/>
                </a:solidFill>
                <a:effectLst/>
                <a:latin typeface="Segoe UI Light" pitchFamily="34" charset="0"/>
                <a:ea typeface="+mn-ea"/>
                <a:cs typeface="+mn-cs"/>
              </a:rPr>
              <a:t>ReadOnly</a:t>
            </a:r>
            <a:r>
              <a:rPr lang="es-ES" sz="800" b="1" i="0" kern="1200" dirty="0">
                <a:solidFill>
                  <a:schemeClr val="tx1"/>
                </a:solidFill>
                <a:effectLst/>
                <a:latin typeface="Segoe UI Light" pitchFamily="34" charset="0"/>
                <a:ea typeface="+mn-ea"/>
                <a:cs typeface="+mn-cs"/>
              </a:rPr>
              <a:t>; &gt; </a:t>
            </a:r>
            <a:r>
              <a:rPr lang="es-ES" sz="800" b="0" i="0" kern="1200" dirty="0" err="1">
                <a:solidFill>
                  <a:schemeClr val="tx1"/>
                </a:solidFill>
                <a:effectLst/>
                <a:latin typeface="Segoe UI Light" pitchFamily="34" charset="0"/>
                <a:ea typeface="+mn-ea"/>
                <a:cs typeface="+mn-cs"/>
              </a:rPr>
              <a:t>Click</a:t>
            </a:r>
            <a:r>
              <a:rPr lang="es-ES" sz="800" b="0" i="0" kern="1200" dirty="0">
                <a:solidFill>
                  <a:schemeClr val="tx1"/>
                </a:solidFill>
                <a:effectLst/>
                <a:latin typeface="Segoe UI Light" pitchFamily="34" charset="0"/>
                <a:ea typeface="+mn-ea"/>
                <a:cs typeface="+mn-cs"/>
              </a:rPr>
              <a:t> </a:t>
            </a:r>
            <a:r>
              <a:rPr lang="es-ES" sz="800" b="0" i="0" kern="1200" dirty="0" err="1">
                <a:solidFill>
                  <a:schemeClr val="tx1"/>
                </a:solidFill>
                <a:effectLst/>
                <a:latin typeface="Segoe UI Light" pitchFamily="34" charset="0"/>
                <a:ea typeface="+mn-ea"/>
                <a:cs typeface="+mn-cs"/>
              </a:rPr>
              <a:t>Connect</a:t>
            </a:r>
            <a:endParaRPr lang="es-ES" sz="800" b="0" i="0" kern="1200" dirty="0">
              <a:solidFill>
                <a:schemeClr val="tx1"/>
              </a:solidFill>
              <a:effectLst/>
              <a:latin typeface="Segoe UI Light" pitchFamily="34" charset="0"/>
              <a:ea typeface="+mn-ea"/>
              <a:cs typeface="+mn-cs"/>
            </a:endParaRP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800" kern="1200" dirty="0">
                <a:solidFill>
                  <a:schemeClr val="tx1"/>
                </a:solidFill>
                <a:latin typeface="Segoe UI Light" pitchFamily="34" charset="0"/>
                <a:ea typeface="+mn-ea"/>
                <a:cs typeface="+mn-cs"/>
              </a:rPr>
              <a:t>Execute the following command:</a:t>
            </a:r>
            <a:br>
              <a:rPr lang="en-US" sz="800" kern="1200" dirty="0">
                <a:solidFill>
                  <a:schemeClr val="tx1"/>
                </a:solidFill>
                <a:latin typeface="Segoe UI Light" pitchFamily="34" charset="0"/>
                <a:ea typeface="+mn-ea"/>
                <a:cs typeface="+mn-cs"/>
              </a:rPr>
            </a:br>
            <a:r>
              <a:rPr lang="en-US" sz="800" kern="1200" dirty="0">
                <a:solidFill>
                  <a:schemeClr val="tx1"/>
                </a:solidFill>
                <a:latin typeface="Segoe UI Light" pitchFamily="34" charset="0"/>
                <a:ea typeface="+mn-ea"/>
                <a:cs typeface="+mn-cs"/>
              </a:rPr>
              <a:t>SELECT DATABASEPROPERTYEX(DB_NAME(), 'Updateability')</a:t>
            </a:r>
            <a:br>
              <a:rPr lang="en-US" sz="800" kern="1200" dirty="0">
                <a:solidFill>
                  <a:schemeClr val="tx1"/>
                </a:solidFill>
                <a:latin typeface="Segoe UI Light" pitchFamily="34" charset="0"/>
                <a:ea typeface="+mn-ea"/>
                <a:cs typeface="+mn-cs"/>
              </a:rPr>
            </a:br>
            <a:r>
              <a:rPr lang="en-US" sz="800" kern="1200" dirty="0">
                <a:solidFill>
                  <a:schemeClr val="tx1"/>
                </a:solidFill>
                <a:latin typeface="Segoe UI Light" pitchFamily="34" charset="0"/>
                <a:ea typeface="+mn-ea"/>
                <a:cs typeface="+mn-cs"/>
              </a:rPr>
              <a:t>The result will be the READ_ONLY replica</a:t>
            </a:r>
          </a:p>
          <a:p>
            <a:pPr marL="228600" indent="-228600">
              <a:buAutoNum type="arabicPeriod"/>
            </a:pPr>
            <a:endParaRPr lang="en-US" b="1" baseline="0" dirty="0"/>
          </a:p>
          <a:p>
            <a:pPr marL="0" indent="0">
              <a:buFont typeface="Arial" panose="020B0604020202020204" pitchFamily="34" charset="0"/>
              <a:buNone/>
            </a:pPr>
            <a:r>
              <a:rPr lang="en-US" b="1" baseline="0" dirty="0"/>
              <a:t>Step 3: </a:t>
            </a:r>
            <a:r>
              <a:rPr lang="en-US" sz="800" dirty="0"/>
              <a:t>Disabling read scale-out</a:t>
            </a:r>
          </a:p>
          <a:p>
            <a:pPr marL="228600" indent="-228600">
              <a:buAutoNum type="arabicPeriod"/>
            </a:pPr>
            <a:r>
              <a:rPr lang="en-US" sz="800" kern="1200" dirty="0">
                <a:solidFill>
                  <a:schemeClr val="tx1"/>
                </a:solidFill>
                <a:latin typeface="Segoe UI Light" pitchFamily="34" charset="0"/>
                <a:ea typeface="+mn-ea"/>
                <a:cs typeface="+mn-cs"/>
              </a:rPr>
              <a:t>Connect to the Azure Portal</a:t>
            </a:r>
          </a:p>
          <a:p>
            <a:pPr marL="228600" indent="-228600">
              <a:buAutoNum type="arabicPeriod"/>
            </a:pPr>
            <a:r>
              <a:rPr lang="en-US" sz="800" kern="1200" dirty="0">
                <a:solidFill>
                  <a:schemeClr val="tx1"/>
                </a:solidFill>
                <a:latin typeface="Segoe UI Light" pitchFamily="34" charset="0"/>
                <a:ea typeface="+mn-ea"/>
                <a:cs typeface="+mn-cs"/>
              </a:rPr>
              <a:t>Navigate to SQL Databases &gt; </a:t>
            </a:r>
            <a:r>
              <a:rPr lang="en-US" dirty="0" err="1"/>
              <a:t>salesdb</a:t>
            </a:r>
            <a:r>
              <a:rPr lang="en-US" dirty="0"/>
              <a:t> &gt; Settings/Configure &gt; Premium &gt; Read scale-out: Disabled &gt; Apply</a:t>
            </a:r>
            <a:r>
              <a:rPr lang="en-US" sz="800" kern="1200" dirty="0">
                <a:solidFill>
                  <a:schemeClr val="tx1"/>
                </a:solidFill>
                <a:latin typeface="Segoe UI Light" pitchFamily="34" charset="0"/>
                <a:ea typeface="+mn-ea"/>
                <a:cs typeface="+mn-cs"/>
              </a:rPr>
              <a:t> </a:t>
            </a:r>
          </a:p>
          <a:p>
            <a:pPr marL="0" indent="0">
              <a:buNone/>
            </a:pPr>
            <a:r>
              <a:rPr lang="en-US" sz="800" kern="1200" dirty="0">
                <a:solidFill>
                  <a:schemeClr val="tx1"/>
                </a:solidFill>
                <a:latin typeface="Segoe UI Light" pitchFamily="34" charset="0"/>
                <a:ea typeface="+mn-ea"/>
                <a:cs typeface="+mn-cs"/>
              </a:rPr>
              <a:t>Note: To avoid the charges of Premium tier, change the Tier to Basic/Standard (note that by changing to an </a:t>
            </a:r>
            <a:r>
              <a:rPr lang="en-US" dirty="0"/>
              <a:t>unsupported service tier, all connections are directed to the read-write replica, independent of the </a:t>
            </a:r>
            <a:r>
              <a:rPr lang="en-US" dirty="0" err="1"/>
              <a:t>ApplicationIntent</a:t>
            </a:r>
            <a:r>
              <a:rPr lang="en-US" dirty="0"/>
              <a:t> property)</a:t>
            </a:r>
            <a:endParaRPr lang="en-US" sz="800" kern="1200" dirty="0">
              <a:solidFill>
                <a:schemeClr val="tx1"/>
              </a:solidFill>
              <a:latin typeface="Segoe UI Light" pitchFamily="34" charset="0"/>
              <a:ea typeface="+mn-ea"/>
              <a:cs typeface="+mn-cs"/>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74692906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202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8653101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dirty="0"/>
              <a:t>Question 1: </a:t>
            </a:r>
            <a:r>
              <a:rPr lang="en-US" sz="800" dirty="0">
                <a:solidFill>
                  <a:srgbClr val="FFFFFF"/>
                </a:solidFill>
              </a:rPr>
              <a:t>Read Scale-Out feature is available in which Service Tiers?</a:t>
            </a:r>
            <a:endParaRPr kumimoji="0" lang="EN-US" sz="800" b="0" i="0" u="none" strike="noStrike" kern="1200" cap="none" spc="0" normalizeH="0" baseline="0" noProof="0" dirty="0">
              <a:ln>
                <a:noFill/>
              </a:ln>
              <a:solidFill>
                <a:srgbClr val="FFFFFF"/>
              </a:solidFill>
              <a:effectLst/>
              <a:uLnTx/>
              <a:uFillTx/>
              <a:latin typeface="+mn-lt"/>
              <a:ea typeface="+mn-ea"/>
              <a:cs typeface="+mn-cs"/>
            </a:endParaRPr>
          </a:p>
          <a:p>
            <a:r>
              <a:rPr lang="en-US" dirty="0"/>
              <a:t>Answer 1</a:t>
            </a:r>
            <a:r>
              <a:rPr lang="en-US" baseline="0" dirty="0"/>
              <a:t>:</a:t>
            </a:r>
            <a:r>
              <a:rPr lang="en-US" sz="800" b="0" i="0" kern="1200" dirty="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800" b="0" i="0" kern="1200" dirty="0">
                <a:solidFill>
                  <a:schemeClr val="tx1"/>
                </a:solidFill>
                <a:effectLst/>
                <a:latin typeface="Segoe UI Light" pitchFamily="34" charset="0"/>
                <a:ea typeface="+mn-ea"/>
                <a:cs typeface="+mn-cs"/>
              </a:rPr>
              <a:t>Premium tier (DTU-based purchasing model) </a:t>
            </a:r>
          </a:p>
          <a:p>
            <a:pPr marL="171450" indent="-171450">
              <a:buFont typeface="Arial" panose="020B0604020202020204" pitchFamily="34" charset="0"/>
              <a:buChar char="•"/>
            </a:pPr>
            <a:r>
              <a:rPr lang="en-US" sz="800" b="0" i="0" kern="1200" dirty="0">
                <a:solidFill>
                  <a:schemeClr val="tx1"/>
                </a:solidFill>
                <a:effectLst/>
                <a:latin typeface="Segoe UI Light" pitchFamily="34" charset="0"/>
                <a:ea typeface="+mn-ea"/>
                <a:cs typeface="+mn-cs"/>
              </a:rPr>
              <a:t>Business Critical tier (</a:t>
            </a:r>
            <a:r>
              <a:rPr lang="en-US" sz="800" b="0" i="0" kern="1200" dirty="0" err="1">
                <a:solidFill>
                  <a:schemeClr val="tx1"/>
                </a:solidFill>
                <a:effectLst/>
                <a:latin typeface="Segoe UI Light" pitchFamily="34" charset="0"/>
                <a:ea typeface="+mn-ea"/>
                <a:cs typeface="+mn-cs"/>
              </a:rPr>
              <a:t>vCore</a:t>
            </a:r>
            <a:r>
              <a:rPr lang="en-US" sz="800" b="0" i="0" kern="1200" dirty="0">
                <a:solidFill>
                  <a:schemeClr val="tx1"/>
                </a:solidFill>
                <a:effectLst/>
                <a:latin typeface="Segoe UI Light" pitchFamily="34" charset="0"/>
                <a:ea typeface="+mn-ea"/>
                <a:cs typeface="+mn-cs"/>
              </a:rPr>
              <a:t>-based purchasing model)</a:t>
            </a:r>
          </a:p>
          <a:p>
            <a:pPr marL="171450" indent="-171450">
              <a:buFont typeface="Arial" panose="020B0604020202020204" pitchFamily="34" charset="0"/>
              <a:buChar char="•"/>
            </a:pPr>
            <a:r>
              <a:rPr lang="en-US" sz="800" b="0" i="0" kern="1200" dirty="0">
                <a:solidFill>
                  <a:schemeClr val="tx1"/>
                </a:solidFill>
                <a:effectLst/>
                <a:latin typeface="Segoe UI Light" pitchFamily="34" charset="0"/>
                <a:ea typeface="+mn-ea"/>
                <a:cs typeface="+mn-cs"/>
              </a:rPr>
              <a:t>Hyperscale</a:t>
            </a:r>
          </a:p>
          <a:p>
            <a:pPr marL="171450" indent="-171450">
              <a:buFont typeface="Arial" panose="020B0604020202020204" pitchFamily="34" charset="0"/>
              <a:buChar char="•"/>
            </a:pPr>
            <a:endParaRPr lang="en-US" b="1" baseline="0" dirty="0"/>
          </a:p>
          <a:p>
            <a:pPr marL="0" lvl="0" indent="0">
              <a:buFont typeface="Arial" panose="020B0604020202020204" pitchFamily="34" charset="0"/>
              <a:buNone/>
            </a:pPr>
            <a:r>
              <a:rPr lang="en-US" b="0" baseline="0" dirty="0"/>
              <a:t>Question 2: </a:t>
            </a:r>
            <a:r>
              <a:rPr lang="en-US" sz="800" dirty="0">
                <a:solidFill>
                  <a:srgbClr val="FFFFFF"/>
                </a:solidFill>
              </a:rPr>
              <a:t>How many replicas are enabled to load balance read-only query workloads?</a:t>
            </a:r>
            <a:endParaRPr kumimoji="0" lang="en-US" sz="800" b="0" i="0" u="none" strike="noStrike" kern="1200" cap="none" spc="0" normalizeH="0" baseline="0" noProof="0" dirty="0">
              <a:ln>
                <a:noFill/>
              </a:ln>
              <a:solidFill>
                <a:srgbClr val="505050"/>
              </a:solidFill>
              <a:effectLst/>
              <a:uLnTx/>
              <a:uFillTx/>
              <a:latin typeface="+mn-lt"/>
              <a:ea typeface="+mn-ea"/>
              <a:cs typeface="+mn-cs"/>
            </a:endParaRPr>
          </a:p>
          <a:p>
            <a:r>
              <a:rPr lang="en-US" baseline="0" dirty="0"/>
              <a:t>Answer 2: Only one</a:t>
            </a:r>
          </a:p>
          <a:p>
            <a:endParaRPr lang="en-US" baseline="0" dirty="0"/>
          </a:p>
          <a:p>
            <a:pPr marL="0" indent="0">
              <a:buFont typeface="Arial" panose="020B0604020202020204" pitchFamily="34" charset="0"/>
              <a:buNone/>
            </a:pPr>
            <a:r>
              <a:rPr lang="en-US" b="0" baseline="0" dirty="0"/>
              <a:t>Question 3: </a:t>
            </a:r>
            <a:r>
              <a:rPr lang="en-US" sz="800" dirty="0">
                <a:solidFill>
                  <a:srgbClr val="FFFFFF"/>
                </a:solidFill>
              </a:rPr>
              <a:t>How to connect to a </a:t>
            </a:r>
            <a:r>
              <a:rPr lang="en-US" sz="800" dirty="0"/>
              <a:t>read-only replica?</a:t>
            </a:r>
            <a:r>
              <a:rPr lang="en-US" sz="800" dirty="0">
                <a:solidFill>
                  <a:srgbClr val="FFFFFF"/>
                </a:solidFill>
              </a:rPr>
              <a:t> </a:t>
            </a:r>
            <a:endParaRPr kumimoji="0" lang="en-US" sz="800" b="0" i="0" u="none" strike="noStrike" kern="1200" cap="none" spc="0" normalizeH="0" baseline="0" noProof="0" dirty="0">
              <a:ln>
                <a:noFill/>
              </a:ln>
              <a:solidFill>
                <a:srgbClr val="505050"/>
              </a:solidFill>
              <a:effectLst/>
              <a:uLnTx/>
              <a:uFillTx/>
              <a:latin typeface="+mn-lt"/>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baseline="0" dirty="0"/>
              <a:t>Answer 3: If the feature is available (depend on the service tier) and enabled, you need to modify the connection string parameters adding: </a:t>
            </a:r>
            <a:r>
              <a:rPr lang="es-ES" sz="800" b="1" i="0" kern="1200" dirty="0" err="1">
                <a:solidFill>
                  <a:schemeClr val="tx1"/>
                </a:solidFill>
                <a:effectLst/>
                <a:latin typeface="Segoe UI Light" pitchFamily="34" charset="0"/>
                <a:ea typeface="+mn-ea"/>
                <a:cs typeface="+mn-cs"/>
              </a:rPr>
              <a:t>ApplicationIntent</a:t>
            </a:r>
            <a:r>
              <a:rPr lang="es-ES" sz="800" b="1" i="0" kern="1200" dirty="0">
                <a:solidFill>
                  <a:schemeClr val="tx1"/>
                </a:solidFill>
                <a:effectLst/>
                <a:latin typeface="Segoe UI Light" pitchFamily="34" charset="0"/>
                <a:ea typeface="+mn-ea"/>
                <a:cs typeface="+mn-cs"/>
              </a:rPr>
              <a:t>=</a:t>
            </a:r>
            <a:r>
              <a:rPr lang="es-ES" sz="800" b="1" i="0" kern="1200" dirty="0" err="1">
                <a:solidFill>
                  <a:schemeClr val="tx1"/>
                </a:solidFill>
                <a:effectLst/>
                <a:latin typeface="Segoe UI Light" pitchFamily="34" charset="0"/>
                <a:ea typeface="+mn-ea"/>
                <a:cs typeface="+mn-cs"/>
              </a:rPr>
              <a:t>ReadOnly</a:t>
            </a:r>
            <a:r>
              <a:rPr lang="es-ES" sz="800" b="1" i="0" kern="1200" dirty="0">
                <a:solidFill>
                  <a:schemeClr val="tx1"/>
                </a:solidFill>
                <a:effectLst/>
                <a:latin typeface="Segoe UI Light" pitchFamily="34" charset="0"/>
                <a:ea typeface="+mn-ea"/>
                <a:cs typeface="+mn-cs"/>
              </a:rPr>
              <a:t>;</a:t>
            </a:r>
            <a:endParaRPr lang="es-ES" b="1"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52</a:t>
            </a:fld>
            <a:endParaRPr lang="en-US" noProof="0"/>
          </a:p>
        </p:txBody>
      </p:sp>
    </p:spTree>
    <p:extLst>
      <p:ext uri="{BB962C8B-B14F-4D97-AF65-F5344CB8AC3E}">
        <p14:creationId xmlns:p14="http://schemas.microsoft.com/office/powerpoint/2010/main" val="65500299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53</a:t>
            </a:fld>
            <a:endParaRPr lang="en-US" noProof="0"/>
          </a:p>
        </p:txBody>
      </p:sp>
    </p:spTree>
    <p:extLst>
      <p:ext uri="{BB962C8B-B14F-4D97-AF65-F5344CB8AC3E}">
        <p14:creationId xmlns:p14="http://schemas.microsoft.com/office/powerpoint/2010/main" val="8055720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u="none" strike="noStrike" kern="1200" dirty="0">
                <a:solidFill>
                  <a:schemeClr val="tx1"/>
                </a:solidFill>
                <a:effectLst/>
                <a:latin typeface="Segoe UI Light" pitchFamily="34" charset="0"/>
                <a:ea typeface="+mn-ea"/>
                <a:cs typeface="+mn-cs"/>
                <a:hlinkClick r:id="rId3"/>
              </a:rPr>
              <a:t>https://docs.microsoft.com/en-us/azure/sql-database/sql-database-single-databases-manage</a:t>
            </a:r>
            <a:r>
              <a:rPr lang="en-US" sz="800" b="0" i="0" u="none" strike="noStrike" kern="1200" dirty="0">
                <a:solidFill>
                  <a:schemeClr val="tx1"/>
                </a:solidFill>
                <a:effectLst/>
                <a:latin typeface="Segoe UI Light" pitchFamily="34" charset="0"/>
                <a:ea typeface="+mn-ea"/>
                <a:cs typeface="+mn-cs"/>
              </a:rPr>
              <a:t> </a:t>
            </a:r>
          </a:p>
          <a:p>
            <a:endParaRPr lang="en-US" sz="800" b="0" i="0" u="none" strike="noStrike" kern="1200" dirty="0">
              <a:solidFill>
                <a:schemeClr val="tx1"/>
              </a:solidFill>
              <a:effectLst/>
              <a:latin typeface="Segoe UI Light" pitchFamily="34" charset="0"/>
              <a:ea typeface="+mn-ea"/>
              <a:cs typeface="+mn-cs"/>
            </a:endParaRPr>
          </a:p>
          <a:p>
            <a:r>
              <a:rPr lang="en-US" sz="800" b="1" i="0" u="sng" strike="noStrike" kern="1200" dirty="0">
                <a:solidFill>
                  <a:schemeClr val="tx1"/>
                </a:solidFill>
                <a:effectLst/>
                <a:latin typeface="Segoe UI Light" pitchFamily="34" charset="0"/>
                <a:ea typeface="+mn-ea"/>
                <a:cs typeface="+mn-cs"/>
              </a:rPr>
              <a:t>PowerShell</a:t>
            </a:r>
          </a:p>
          <a:p>
            <a:r>
              <a:rPr lang="en-US" dirty="0"/>
              <a:t>Cmdlet	Description</a:t>
            </a:r>
          </a:p>
          <a:p>
            <a:r>
              <a:rPr lang="en-US" dirty="0"/>
              <a:t>New-</a:t>
            </a:r>
            <a:r>
              <a:rPr lang="en-US" dirty="0" err="1"/>
              <a:t>AzSqlDatabase</a:t>
            </a:r>
            <a:r>
              <a:rPr lang="en-US" dirty="0"/>
              <a:t>	Creates a database</a:t>
            </a:r>
          </a:p>
          <a:p>
            <a:r>
              <a:rPr lang="en-US" dirty="0"/>
              <a:t>Get-</a:t>
            </a:r>
            <a:r>
              <a:rPr lang="en-US" dirty="0" err="1"/>
              <a:t>AzSqlDatabase</a:t>
            </a:r>
            <a:r>
              <a:rPr lang="en-US" dirty="0"/>
              <a:t>	Gets one or more databases</a:t>
            </a:r>
          </a:p>
          <a:p>
            <a:r>
              <a:rPr lang="en-US" dirty="0"/>
              <a:t>Set-</a:t>
            </a:r>
            <a:r>
              <a:rPr lang="en-US" dirty="0" err="1"/>
              <a:t>AzSqlDatabase</a:t>
            </a:r>
            <a:r>
              <a:rPr lang="en-US" dirty="0"/>
              <a:t>	Sets properties for a database, or moves an existing database into an elastic pool</a:t>
            </a:r>
          </a:p>
          <a:p>
            <a:r>
              <a:rPr lang="en-US" dirty="0"/>
              <a:t>Remove-</a:t>
            </a:r>
            <a:r>
              <a:rPr lang="en-US" dirty="0" err="1"/>
              <a:t>AzSqlDatabase</a:t>
            </a:r>
            <a:r>
              <a:rPr lang="en-US" dirty="0"/>
              <a:t>	Removes a database</a:t>
            </a:r>
          </a:p>
          <a:p>
            <a:r>
              <a:rPr lang="en-US" dirty="0"/>
              <a:t>New-</a:t>
            </a:r>
            <a:r>
              <a:rPr lang="en-US" dirty="0" err="1"/>
              <a:t>AzResourceGroup</a:t>
            </a:r>
            <a:r>
              <a:rPr lang="en-US" dirty="0"/>
              <a:t>	Creates a resource group</a:t>
            </a:r>
          </a:p>
          <a:p>
            <a:r>
              <a:rPr lang="en-US" dirty="0"/>
              <a:t>New-</a:t>
            </a:r>
            <a:r>
              <a:rPr lang="en-US" dirty="0" err="1"/>
              <a:t>AzSqlServer</a:t>
            </a:r>
            <a:r>
              <a:rPr lang="en-US" dirty="0"/>
              <a:t>	Creates a server</a:t>
            </a:r>
          </a:p>
          <a:p>
            <a:r>
              <a:rPr lang="en-US" dirty="0"/>
              <a:t>Get-</a:t>
            </a:r>
            <a:r>
              <a:rPr lang="en-US" dirty="0" err="1"/>
              <a:t>AzSqlServer</a:t>
            </a:r>
            <a:r>
              <a:rPr lang="en-US" dirty="0"/>
              <a:t>	Returns information about servers</a:t>
            </a:r>
          </a:p>
          <a:p>
            <a:r>
              <a:rPr lang="en-US" dirty="0"/>
              <a:t>Set-</a:t>
            </a:r>
            <a:r>
              <a:rPr lang="en-US" dirty="0" err="1"/>
              <a:t>AzSqlServer</a:t>
            </a:r>
            <a:r>
              <a:rPr lang="en-US" dirty="0"/>
              <a:t>	Modifies properties of a server</a:t>
            </a:r>
          </a:p>
          <a:p>
            <a:r>
              <a:rPr lang="en-US" dirty="0"/>
              <a:t>Remove-</a:t>
            </a:r>
            <a:r>
              <a:rPr lang="en-US" dirty="0" err="1"/>
              <a:t>AzSqlServer</a:t>
            </a:r>
            <a:r>
              <a:rPr lang="en-US" dirty="0"/>
              <a:t>	Removes a server</a:t>
            </a:r>
          </a:p>
          <a:p>
            <a:r>
              <a:rPr lang="en-US" dirty="0"/>
              <a:t>New-</a:t>
            </a:r>
            <a:r>
              <a:rPr lang="en-US" dirty="0" err="1"/>
              <a:t>AzSqlServerFirewallRule</a:t>
            </a:r>
            <a:r>
              <a:rPr lang="en-US" dirty="0"/>
              <a:t>	Creates a server-level firewall rule</a:t>
            </a:r>
          </a:p>
          <a:p>
            <a:r>
              <a:rPr lang="en-US" dirty="0"/>
              <a:t>Get-</a:t>
            </a:r>
            <a:r>
              <a:rPr lang="en-US" dirty="0" err="1"/>
              <a:t>AzSqlServerFirewallRule</a:t>
            </a:r>
            <a:r>
              <a:rPr lang="en-US" dirty="0"/>
              <a:t>	Gets firewall rules for a server</a:t>
            </a:r>
          </a:p>
          <a:p>
            <a:r>
              <a:rPr lang="en-US" dirty="0"/>
              <a:t>Set-</a:t>
            </a:r>
            <a:r>
              <a:rPr lang="en-US" dirty="0" err="1"/>
              <a:t>AzSqlServerFirewallRule</a:t>
            </a:r>
            <a:r>
              <a:rPr lang="en-US" dirty="0"/>
              <a:t>	Modifies a firewall rule in a server</a:t>
            </a:r>
          </a:p>
          <a:p>
            <a:r>
              <a:rPr lang="en-US" dirty="0"/>
              <a:t>Remove-</a:t>
            </a:r>
            <a:r>
              <a:rPr lang="en-US" dirty="0" err="1"/>
              <a:t>AzSqlServerFirewallRule</a:t>
            </a:r>
            <a:r>
              <a:rPr lang="en-US" dirty="0"/>
              <a:t>	Deletes a firewall rule from a server.</a:t>
            </a:r>
          </a:p>
          <a:p>
            <a:r>
              <a:rPr lang="en-US" dirty="0"/>
              <a:t>New-</a:t>
            </a:r>
            <a:r>
              <a:rPr lang="en-US" dirty="0" err="1"/>
              <a:t>AzSqlServerVirtualNetworkRule</a:t>
            </a:r>
            <a:r>
              <a:rPr lang="en-US" dirty="0"/>
              <a:t>	Creates a virtual network rule, based on a subnet that is a Virtual Network service endpoint.</a:t>
            </a:r>
          </a:p>
          <a:p>
            <a:endParaRPr lang="en-US" b="1" u="sng" dirty="0"/>
          </a:p>
          <a:p>
            <a:r>
              <a:rPr lang="en-US" b="1" u="sng" dirty="0"/>
              <a:t>Azure CLI</a:t>
            </a:r>
          </a:p>
          <a:p>
            <a:r>
              <a:rPr lang="en-US" dirty="0"/>
              <a:t>Cmdlet	Description</a:t>
            </a:r>
          </a:p>
          <a:p>
            <a:r>
              <a:rPr lang="en-US" dirty="0" err="1"/>
              <a:t>az</a:t>
            </a:r>
            <a:r>
              <a:rPr lang="en-US" dirty="0"/>
              <a:t> </a:t>
            </a:r>
            <a:r>
              <a:rPr lang="en-US" dirty="0" err="1"/>
              <a:t>sql</a:t>
            </a:r>
            <a:r>
              <a:rPr lang="en-US" dirty="0"/>
              <a:t> </a:t>
            </a:r>
            <a:r>
              <a:rPr lang="en-US" dirty="0" err="1"/>
              <a:t>db</a:t>
            </a:r>
            <a:r>
              <a:rPr lang="en-US" dirty="0"/>
              <a:t> create	Creates a database</a:t>
            </a:r>
          </a:p>
          <a:p>
            <a:r>
              <a:rPr lang="en-US" dirty="0" err="1"/>
              <a:t>az</a:t>
            </a:r>
            <a:r>
              <a:rPr lang="en-US" dirty="0"/>
              <a:t> </a:t>
            </a:r>
            <a:r>
              <a:rPr lang="en-US" dirty="0" err="1"/>
              <a:t>sql</a:t>
            </a:r>
            <a:r>
              <a:rPr lang="en-US" dirty="0"/>
              <a:t> </a:t>
            </a:r>
            <a:r>
              <a:rPr lang="en-US" dirty="0" err="1"/>
              <a:t>db</a:t>
            </a:r>
            <a:r>
              <a:rPr lang="en-US" dirty="0"/>
              <a:t> list	Lists all databases and data warehouses in a server, or all databases in an elastic pool</a:t>
            </a:r>
          </a:p>
          <a:p>
            <a:r>
              <a:rPr lang="en-US" dirty="0" err="1"/>
              <a:t>az</a:t>
            </a:r>
            <a:r>
              <a:rPr lang="en-US" dirty="0"/>
              <a:t> </a:t>
            </a:r>
            <a:r>
              <a:rPr lang="en-US" dirty="0" err="1"/>
              <a:t>sql</a:t>
            </a:r>
            <a:r>
              <a:rPr lang="en-US" dirty="0"/>
              <a:t> </a:t>
            </a:r>
            <a:r>
              <a:rPr lang="en-US" dirty="0" err="1"/>
              <a:t>db</a:t>
            </a:r>
            <a:r>
              <a:rPr lang="en-US" dirty="0"/>
              <a:t> list-editions	Lists available service objectives and storage limits</a:t>
            </a:r>
          </a:p>
          <a:p>
            <a:r>
              <a:rPr lang="en-US" dirty="0" err="1"/>
              <a:t>az</a:t>
            </a:r>
            <a:r>
              <a:rPr lang="en-US" dirty="0"/>
              <a:t> </a:t>
            </a:r>
            <a:r>
              <a:rPr lang="en-US" dirty="0" err="1"/>
              <a:t>sql</a:t>
            </a:r>
            <a:r>
              <a:rPr lang="en-US" dirty="0"/>
              <a:t> </a:t>
            </a:r>
            <a:r>
              <a:rPr lang="en-US" dirty="0" err="1"/>
              <a:t>db</a:t>
            </a:r>
            <a:r>
              <a:rPr lang="en-US" dirty="0"/>
              <a:t> list-usages	Returns database usages</a:t>
            </a:r>
          </a:p>
          <a:p>
            <a:r>
              <a:rPr lang="en-US" dirty="0" err="1"/>
              <a:t>az</a:t>
            </a:r>
            <a:r>
              <a:rPr lang="en-US" dirty="0"/>
              <a:t> </a:t>
            </a:r>
            <a:r>
              <a:rPr lang="en-US" dirty="0" err="1"/>
              <a:t>sql</a:t>
            </a:r>
            <a:r>
              <a:rPr lang="en-US" dirty="0"/>
              <a:t> </a:t>
            </a:r>
            <a:r>
              <a:rPr lang="en-US" dirty="0" err="1"/>
              <a:t>db</a:t>
            </a:r>
            <a:r>
              <a:rPr lang="en-US" dirty="0"/>
              <a:t> show	Gets a database or data warehouse</a:t>
            </a:r>
          </a:p>
          <a:p>
            <a:r>
              <a:rPr lang="en-US" dirty="0" err="1"/>
              <a:t>az</a:t>
            </a:r>
            <a:r>
              <a:rPr lang="en-US" dirty="0"/>
              <a:t> </a:t>
            </a:r>
            <a:r>
              <a:rPr lang="en-US" dirty="0" err="1"/>
              <a:t>sql</a:t>
            </a:r>
            <a:r>
              <a:rPr lang="en-US" dirty="0"/>
              <a:t> </a:t>
            </a:r>
            <a:r>
              <a:rPr lang="en-US" dirty="0" err="1"/>
              <a:t>db</a:t>
            </a:r>
            <a:r>
              <a:rPr lang="en-US" dirty="0"/>
              <a:t> update	Updates a database</a:t>
            </a:r>
          </a:p>
          <a:p>
            <a:r>
              <a:rPr lang="en-US" dirty="0" err="1"/>
              <a:t>az</a:t>
            </a:r>
            <a:r>
              <a:rPr lang="en-US" dirty="0"/>
              <a:t> </a:t>
            </a:r>
            <a:r>
              <a:rPr lang="en-US" dirty="0" err="1"/>
              <a:t>sql</a:t>
            </a:r>
            <a:r>
              <a:rPr lang="en-US" dirty="0"/>
              <a:t> </a:t>
            </a:r>
            <a:r>
              <a:rPr lang="en-US" dirty="0" err="1"/>
              <a:t>db</a:t>
            </a:r>
            <a:r>
              <a:rPr lang="en-US" dirty="0"/>
              <a:t> delete	Removes a database</a:t>
            </a:r>
          </a:p>
          <a:p>
            <a:r>
              <a:rPr lang="en-US" dirty="0" err="1"/>
              <a:t>az</a:t>
            </a:r>
            <a:r>
              <a:rPr lang="en-US" dirty="0"/>
              <a:t> group create	Creates a resource group</a:t>
            </a:r>
          </a:p>
          <a:p>
            <a:r>
              <a:rPr lang="en-US" dirty="0" err="1"/>
              <a:t>az</a:t>
            </a:r>
            <a:r>
              <a:rPr lang="en-US" dirty="0"/>
              <a:t> </a:t>
            </a:r>
            <a:r>
              <a:rPr lang="en-US" dirty="0" err="1"/>
              <a:t>sql</a:t>
            </a:r>
            <a:r>
              <a:rPr lang="en-US" dirty="0"/>
              <a:t> server create	Creates a server</a:t>
            </a:r>
          </a:p>
          <a:p>
            <a:r>
              <a:rPr lang="en-US" dirty="0" err="1"/>
              <a:t>az</a:t>
            </a:r>
            <a:r>
              <a:rPr lang="en-US" dirty="0"/>
              <a:t> </a:t>
            </a:r>
            <a:r>
              <a:rPr lang="en-US" dirty="0" err="1"/>
              <a:t>sql</a:t>
            </a:r>
            <a:r>
              <a:rPr lang="en-US" dirty="0"/>
              <a:t> server list	Lists servers</a:t>
            </a:r>
          </a:p>
          <a:p>
            <a:r>
              <a:rPr lang="en-US" dirty="0" err="1"/>
              <a:t>az</a:t>
            </a:r>
            <a:r>
              <a:rPr lang="en-US" dirty="0"/>
              <a:t> </a:t>
            </a:r>
            <a:r>
              <a:rPr lang="en-US" dirty="0" err="1"/>
              <a:t>sql</a:t>
            </a:r>
            <a:r>
              <a:rPr lang="en-US" dirty="0"/>
              <a:t> server list-usages	Returns server usages</a:t>
            </a:r>
          </a:p>
          <a:p>
            <a:r>
              <a:rPr lang="en-US" dirty="0" err="1"/>
              <a:t>az</a:t>
            </a:r>
            <a:r>
              <a:rPr lang="en-US" dirty="0"/>
              <a:t> </a:t>
            </a:r>
            <a:r>
              <a:rPr lang="en-US" dirty="0" err="1"/>
              <a:t>sql</a:t>
            </a:r>
            <a:r>
              <a:rPr lang="en-US" dirty="0"/>
              <a:t> server show	Gets a server</a:t>
            </a:r>
          </a:p>
          <a:p>
            <a:r>
              <a:rPr lang="en-US" dirty="0" err="1"/>
              <a:t>az</a:t>
            </a:r>
            <a:r>
              <a:rPr lang="en-US" dirty="0"/>
              <a:t> </a:t>
            </a:r>
            <a:r>
              <a:rPr lang="en-US" dirty="0" err="1"/>
              <a:t>sql</a:t>
            </a:r>
            <a:r>
              <a:rPr lang="en-US" dirty="0"/>
              <a:t> server update	Updates a server</a:t>
            </a:r>
          </a:p>
          <a:p>
            <a:r>
              <a:rPr lang="en-US" dirty="0" err="1"/>
              <a:t>az</a:t>
            </a:r>
            <a:r>
              <a:rPr lang="en-US" dirty="0"/>
              <a:t> </a:t>
            </a:r>
            <a:r>
              <a:rPr lang="en-US" dirty="0" err="1"/>
              <a:t>sql</a:t>
            </a:r>
            <a:r>
              <a:rPr lang="en-US" dirty="0"/>
              <a:t> server delete	Deletes a server</a:t>
            </a:r>
          </a:p>
          <a:p>
            <a:r>
              <a:rPr lang="en-US" dirty="0" err="1"/>
              <a:t>az</a:t>
            </a:r>
            <a:r>
              <a:rPr lang="en-US" dirty="0"/>
              <a:t> </a:t>
            </a:r>
            <a:r>
              <a:rPr lang="en-US" dirty="0" err="1"/>
              <a:t>sql</a:t>
            </a:r>
            <a:r>
              <a:rPr lang="en-US" dirty="0"/>
              <a:t> server firewall-rule create	Creates a server firewall rule</a:t>
            </a:r>
          </a:p>
          <a:p>
            <a:r>
              <a:rPr lang="en-US" dirty="0" err="1"/>
              <a:t>az</a:t>
            </a:r>
            <a:r>
              <a:rPr lang="en-US" dirty="0"/>
              <a:t> </a:t>
            </a:r>
            <a:r>
              <a:rPr lang="en-US" dirty="0" err="1"/>
              <a:t>sql</a:t>
            </a:r>
            <a:r>
              <a:rPr lang="en-US" dirty="0"/>
              <a:t> server firewall-rule list	Lists the firewall rules on a server</a:t>
            </a:r>
          </a:p>
          <a:p>
            <a:r>
              <a:rPr lang="en-US" dirty="0" err="1"/>
              <a:t>az</a:t>
            </a:r>
            <a:r>
              <a:rPr lang="en-US" dirty="0"/>
              <a:t> </a:t>
            </a:r>
            <a:r>
              <a:rPr lang="en-US" dirty="0" err="1"/>
              <a:t>sql</a:t>
            </a:r>
            <a:r>
              <a:rPr lang="en-US" dirty="0"/>
              <a:t> server firewall-rule show	Shows the detail of a firewall rule</a:t>
            </a:r>
          </a:p>
          <a:p>
            <a:r>
              <a:rPr lang="en-US" dirty="0" err="1"/>
              <a:t>az</a:t>
            </a:r>
            <a:r>
              <a:rPr lang="en-US" dirty="0"/>
              <a:t> </a:t>
            </a:r>
            <a:r>
              <a:rPr lang="en-US" dirty="0" err="1"/>
              <a:t>sql</a:t>
            </a:r>
            <a:r>
              <a:rPr lang="en-US" dirty="0"/>
              <a:t> server firewall-rule update	Updates a firewall rule</a:t>
            </a:r>
          </a:p>
          <a:p>
            <a:r>
              <a:rPr lang="en-US" dirty="0" err="1"/>
              <a:t>az</a:t>
            </a:r>
            <a:r>
              <a:rPr lang="en-US" dirty="0"/>
              <a:t> </a:t>
            </a:r>
            <a:r>
              <a:rPr lang="en-US" dirty="0" err="1"/>
              <a:t>sql</a:t>
            </a:r>
            <a:r>
              <a:rPr lang="en-US" dirty="0"/>
              <a:t> server firewall-rule delete	Deletes a firewall rule</a:t>
            </a:r>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9</a:t>
            </a:fld>
            <a:endParaRPr lang="en-US" noProof="0"/>
          </a:p>
        </p:txBody>
      </p:sp>
    </p:spTree>
    <p:extLst>
      <p:ext uri="{BB962C8B-B14F-4D97-AF65-F5344CB8AC3E}">
        <p14:creationId xmlns:p14="http://schemas.microsoft.com/office/powerpoint/2010/main" val="5834704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sql-database/sql-database-single-databases-manage#transact-sql-manage-sql-database-servers-and-single-databases</a:t>
            </a:r>
            <a:r>
              <a:rPr lang="en-US" dirty="0"/>
              <a:t> </a:t>
            </a:r>
          </a:p>
          <a:p>
            <a:endParaRPr lang="en-US" dirty="0"/>
          </a:p>
          <a:p>
            <a:r>
              <a:rPr lang="en-US" b="1" u="sng" dirty="0"/>
              <a:t>T-SQL</a:t>
            </a:r>
          </a:p>
          <a:p>
            <a:r>
              <a:rPr lang="en-US" dirty="0"/>
              <a:t>CREATE DATABASE		Creates a new single database. You must be connected to the master database to create a new database.</a:t>
            </a:r>
          </a:p>
          <a:p>
            <a:r>
              <a:rPr lang="en-US" dirty="0"/>
              <a:t>ALTER DATABASE		Modifies an Azure SQL database.</a:t>
            </a:r>
          </a:p>
          <a:p>
            <a:r>
              <a:rPr lang="en-US" dirty="0"/>
              <a:t>DROP DATABASE		Deletes a database.</a:t>
            </a:r>
          </a:p>
          <a:p>
            <a:r>
              <a:rPr lang="en-US" dirty="0" err="1"/>
              <a:t>sys.database_service_objectives</a:t>
            </a:r>
            <a:r>
              <a:rPr lang="en-US" dirty="0"/>
              <a:t>		Returns the edition (service tier), service objective (pricing tier), and elastic pool name, if any, for an Azure SQL database or an Azure SQL Data Warehouse. If 		logged on to the master database in an Azure SQL Database server, returns information on all databases. For Azure SQL Data Warehouse, 		you must be connected to the master database.</a:t>
            </a:r>
          </a:p>
          <a:p>
            <a:r>
              <a:rPr lang="en-US" dirty="0" err="1"/>
              <a:t>sys.dm_db_resource_stats</a:t>
            </a:r>
            <a:r>
              <a:rPr lang="en-US" dirty="0"/>
              <a:t>		Returns CPU, IO, and memory consumption for an Azure SQL Database </a:t>
            </a:r>
            <a:r>
              <a:rPr lang="en-US" dirty="0" err="1"/>
              <a:t>database</a:t>
            </a:r>
            <a:r>
              <a:rPr lang="en-US" dirty="0"/>
              <a:t>. One row exists for every 15 seconds, even if there is no activity in the 		database.</a:t>
            </a:r>
          </a:p>
          <a:p>
            <a:r>
              <a:rPr lang="en-US" dirty="0" err="1"/>
              <a:t>sys.resource_stats</a:t>
            </a:r>
            <a:r>
              <a:rPr lang="en-US" dirty="0"/>
              <a:t>		Returns CPU usage and storage data for an Azure SQL Database. The data is collected and aggregated within five-minute intervals.</a:t>
            </a:r>
          </a:p>
          <a:p>
            <a:r>
              <a:rPr lang="en-US" dirty="0" err="1"/>
              <a:t>sys.database_connection_stats</a:t>
            </a:r>
            <a:r>
              <a:rPr lang="en-US" dirty="0"/>
              <a:t>		Contains statistics for SQL Database </a:t>
            </a:r>
            <a:r>
              <a:rPr lang="en-US" dirty="0" err="1"/>
              <a:t>database</a:t>
            </a:r>
            <a:r>
              <a:rPr lang="en-US" dirty="0"/>
              <a:t> connectivity events, providing an overview of database connection successes and failures.</a:t>
            </a:r>
          </a:p>
          <a:p>
            <a:r>
              <a:rPr lang="en-US" dirty="0" err="1"/>
              <a:t>sys.event_log</a:t>
            </a:r>
            <a:r>
              <a:rPr lang="en-US" dirty="0"/>
              <a:t>		Returns successful Azure SQL Database </a:t>
            </a:r>
            <a:r>
              <a:rPr lang="en-US" dirty="0" err="1"/>
              <a:t>database</a:t>
            </a:r>
            <a:r>
              <a:rPr lang="en-US" dirty="0"/>
              <a:t> connections, connection failures, and deadlocks. You can use this 			information to track or troubleshoot your database activity with SQL Database.</a:t>
            </a:r>
          </a:p>
          <a:p>
            <a:r>
              <a:rPr lang="en-US" dirty="0" err="1"/>
              <a:t>sp_set_firewall_rule</a:t>
            </a:r>
            <a:r>
              <a:rPr lang="en-US" dirty="0"/>
              <a:t>		Creates or updates the server-level firewall settings for your SQL Database server. This stored procedure is only available in the master database to the server-		level principal login. A  server-level firewall rule can only be created using Transact-SQL after the first server-level firewall rule has been created by a user with 		Azure-level permissions</a:t>
            </a:r>
          </a:p>
          <a:p>
            <a:r>
              <a:rPr lang="en-US" dirty="0" err="1"/>
              <a:t>sys.firewall_rules</a:t>
            </a:r>
            <a:r>
              <a:rPr lang="en-US" dirty="0"/>
              <a:t>		Returns information about the server-level firewall settings associated with your Microsoft Azure SQL Database.</a:t>
            </a:r>
          </a:p>
          <a:p>
            <a:r>
              <a:rPr lang="en-US" dirty="0" err="1"/>
              <a:t>sp_delete_firewall_rule</a:t>
            </a:r>
            <a:r>
              <a:rPr lang="en-US" dirty="0"/>
              <a:t>		Removes server-level firewall settings from your SQL Database server. This stored procedure is only available in the master database to the server-level principal 		login.</a:t>
            </a:r>
          </a:p>
          <a:p>
            <a:r>
              <a:rPr lang="en-US" dirty="0" err="1"/>
              <a:t>sp_set_database_firewall_rule</a:t>
            </a:r>
            <a:r>
              <a:rPr lang="en-US" dirty="0"/>
              <a:t>		Creates or updates the database-level firewall rules for your Azure SQL Database or SQL Data Warehouse. Database firewall rules can be configured for the 		master database, and for user databases on SQL Database. Database firewall rules are useful when using contained database users.</a:t>
            </a:r>
          </a:p>
          <a:p>
            <a:r>
              <a:rPr lang="en-US" dirty="0" err="1"/>
              <a:t>sys.database_firewall_rules</a:t>
            </a:r>
            <a:r>
              <a:rPr lang="en-US" dirty="0"/>
              <a:t>		Returns information about the database-level firewall settings associated with your Microsoft Azure SQL Database.</a:t>
            </a:r>
          </a:p>
          <a:p>
            <a:r>
              <a:rPr lang="en-US" dirty="0" err="1"/>
              <a:t>sp_delete_database_firewall_rule</a:t>
            </a:r>
            <a:r>
              <a:rPr lang="en-US" dirty="0"/>
              <a:t>		Removes database-level firewall setting from your Azure SQL Database or SQL Data Warehouse.</a:t>
            </a:r>
          </a:p>
          <a:p>
            <a:endParaRPr lang="en-US" dirty="0"/>
          </a:p>
          <a:p>
            <a:r>
              <a:rPr lang="en-US" dirty="0">
                <a:hlinkClick r:id="rId4"/>
              </a:rPr>
              <a:t>https://docs.microsoft.com/en-us/azure/sql-database/sql-database-single-databases-manage#rest-api-manage-sql-database-servers-and-single-databases</a:t>
            </a:r>
            <a:r>
              <a:rPr lang="en-US" dirty="0"/>
              <a:t> </a:t>
            </a:r>
          </a:p>
          <a:p>
            <a:endParaRPr lang="en-US" dirty="0"/>
          </a:p>
          <a:p>
            <a:r>
              <a:rPr lang="en-US" b="1" u="sng" dirty="0"/>
              <a:t>REST API</a:t>
            </a:r>
          </a:p>
          <a:p>
            <a:endParaRPr lang="en-US" dirty="0"/>
          </a:p>
          <a:p>
            <a:r>
              <a:rPr lang="en-US" dirty="0"/>
              <a:t>Servers - Create or update		Creates or updates a new server.</a:t>
            </a:r>
          </a:p>
          <a:p>
            <a:r>
              <a:rPr lang="en-US" dirty="0"/>
              <a:t>Servers - Delete		Deletes a SQL server.</a:t>
            </a:r>
          </a:p>
          <a:p>
            <a:r>
              <a:rPr lang="en-US" dirty="0"/>
              <a:t>Servers - Get		Gets a server.</a:t>
            </a:r>
          </a:p>
          <a:p>
            <a:r>
              <a:rPr lang="en-US" dirty="0"/>
              <a:t>Servers - List		Returns a list of servers in a subscription.</a:t>
            </a:r>
          </a:p>
          <a:p>
            <a:r>
              <a:rPr lang="en-US" dirty="0"/>
              <a:t>Servers - List by resource group		Returns a list of servers in a resource group.</a:t>
            </a:r>
          </a:p>
          <a:p>
            <a:r>
              <a:rPr lang="en-US" dirty="0"/>
              <a:t>Servers - Update		Updates an existing server.</a:t>
            </a:r>
          </a:p>
          <a:p>
            <a:r>
              <a:rPr lang="en-US" dirty="0"/>
              <a:t>Databases - Create or update		Creates a new database or updates an existing database.</a:t>
            </a:r>
          </a:p>
          <a:p>
            <a:r>
              <a:rPr lang="en-US" dirty="0"/>
              <a:t>Databases - Delete		Deletes a database.</a:t>
            </a:r>
          </a:p>
          <a:p>
            <a:r>
              <a:rPr lang="en-US" dirty="0"/>
              <a:t>Databases - Get		Gets a database.</a:t>
            </a:r>
          </a:p>
          <a:p>
            <a:r>
              <a:rPr lang="en-US" dirty="0"/>
              <a:t>Databases - List by elastic pool		Returns a list of databases in an elastic pool.</a:t>
            </a:r>
          </a:p>
          <a:p>
            <a:r>
              <a:rPr lang="en-US" dirty="0"/>
              <a:t>Databases - List by server		Returns a list of databases in a server.</a:t>
            </a:r>
          </a:p>
          <a:p>
            <a:r>
              <a:rPr lang="en-US" dirty="0"/>
              <a:t>Databases - Update		Updates an existing database.</a:t>
            </a:r>
          </a:p>
          <a:p>
            <a:r>
              <a:rPr lang="en-US" dirty="0"/>
              <a:t>Firewall rules - Create or update		Creates or updates a firewall rule.</a:t>
            </a:r>
          </a:p>
          <a:p>
            <a:r>
              <a:rPr lang="en-US" dirty="0"/>
              <a:t>Firewall rules - Delete		Deletes a firewall rule.</a:t>
            </a:r>
          </a:p>
          <a:p>
            <a:r>
              <a:rPr lang="en-US" dirty="0"/>
              <a:t>Firewall rules - Get		Gets a firewall rule.</a:t>
            </a:r>
          </a:p>
          <a:p>
            <a:r>
              <a:rPr lang="en-US" dirty="0"/>
              <a:t>Firewall rules - List by server		Returns a list of firewall rules.</a:t>
            </a:r>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0</a:t>
            </a:fld>
            <a:endParaRPr lang="en-US" noProof="0"/>
          </a:p>
        </p:txBody>
      </p:sp>
    </p:spTree>
    <p:extLst>
      <p:ext uri="{BB962C8B-B14F-4D97-AF65-F5344CB8AC3E}">
        <p14:creationId xmlns:p14="http://schemas.microsoft.com/office/powerpoint/2010/main" val="28730235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zure portal is a web-based application where you can create, update, and delete databases and logical servers and monitor database activity. This tool is great if you're just getting started with Azure, managing a few databases, or need to do something quickly.</a:t>
            </a:r>
          </a:p>
          <a:p>
            <a:r>
              <a:rPr lang="en-US" dirty="0">
                <a:hlinkClick r:id="rId3"/>
              </a:rPr>
              <a:t>https://docs.microsoft.com/en-us/azure/sql-database/sql-database-manage-portal</a:t>
            </a:r>
            <a:r>
              <a:rPr lang="en-US" dirty="0"/>
              <a:t> </a:t>
            </a:r>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1</a:t>
            </a:fld>
            <a:endParaRPr lang="en-US" noProof="0"/>
          </a:p>
        </p:txBody>
      </p:sp>
    </p:spTree>
    <p:extLst>
      <p:ext uri="{BB962C8B-B14F-4D97-AF65-F5344CB8AC3E}">
        <p14:creationId xmlns:p14="http://schemas.microsoft.com/office/powerpoint/2010/main" val="28476480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12</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1/17/2022</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1800" dirty="0">
                <a:solidFill>
                  <a:srgbClr val="000000"/>
                </a:solidFill>
                <a:latin typeface="Consolas" panose="020B0609020204030204" pitchFamily="49" charset="0"/>
              </a:rPr>
              <a:t>M02L01Demo01</a:t>
            </a:r>
          </a:p>
          <a:p>
            <a:endParaRPr lang="en-US" b="1" dirty="0"/>
          </a:p>
          <a:p>
            <a:r>
              <a:rPr lang="en-US" b="1" dirty="0"/>
              <a:t>Demo setup instructions</a:t>
            </a:r>
          </a:p>
          <a:p>
            <a:pPr marL="171450" indent="-171450">
              <a:buFont typeface="Arial" panose="020B0604020202020204" pitchFamily="34" charset="0"/>
              <a:buChar char="•"/>
            </a:pPr>
            <a:r>
              <a:rPr lang="en-US" dirty="0"/>
              <a:t>Make sure you have the latest version of the SQL Server Management Studio installed</a:t>
            </a:r>
          </a:p>
          <a:p>
            <a:pPr marL="171450" indent="-171450">
              <a:buFont typeface="Arial" panose="020B0604020202020204" pitchFamily="34" charset="0"/>
              <a:buChar char="•"/>
            </a:pPr>
            <a:r>
              <a:rPr lang="en-US" dirty="0"/>
              <a:t>Make sure you have the latest version of the SQL Server Data Tools installed</a:t>
            </a:r>
          </a:p>
          <a:p>
            <a:pPr marL="171450" indent="-171450">
              <a:buFont typeface="Arial" panose="020B0604020202020204" pitchFamily="34" charset="0"/>
              <a:buChar char="•"/>
            </a:pPr>
            <a:r>
              <a:rPr lang="en-US" dirty="0"/>
              <a:t>Use the script </a:t>
            </a:r>
            <a:r>
              <a:rPr lang="en-US" b="1" dirty="0"/>
              <a:t>C:\Demos\M02L01Demo01\Create Tables in </a:t>
            </a:r>
            <a:r>
              <a:rPr lang="en-US" b="1" dirty="0" err="1"/>
              <a:t>salesdb.sql</a:t>
            </a:r>
            <a:endParaRPr lang="en-US" b="1" dirty="0"/>
          </a:p>
          <a:p>
            <a:pPr marL="0" indent="0">
              <a:buFont typeface="Arial" panose="020B0604020202020204" pitchFamily="34" charset="0"/>
              <a:buNone/>
            </a:pPr>
            <a:endParaRPr lang="en-US" b="1" dirty="0"/>
          </a:p>
          <a:p>
            <a:pPr marL="0" indent="0">
              <a:buFont typeface="Arial" panose="020B0604020202020204" pitchFamily="34" charset="0"/>
              <a:buNone/>
            </a:pPr>
            <a:r>
              <a:rPr lang="en-US" b="1" dirty="0"/>
              <a:t>Steps</a:t>
            </a:r>
          </a:p>
          <a:p>
            <a:pPr marL="0" indent="0">
              <a:buFont typeface="Arial" panose="020B0604020202020204" pitchFamily="34" charset="0"/>
              <a:buNone/>
            </a:pPr>
            <a:endParaRPr lang="en-US" b="1" dirty="0"/>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900" b="1" kern="1200" dirty="0">
                <a:solidFill>
                  <a:schemeClr val="tx1"/>
                </a:solidFill>
                <a:effectLst/>
                <a:latin typeface="Segoe UI Light" pitchFamily="34" charset="0"/>
                <a:ea typeface="+mn-ea"/>
                <a:cs typeface="+mn-cs"/>
              </a:rPr>
              <a:t>Connect to the Azure logical server with SQL Server Management Studio. Use SQL Authentication and use the Admin Login that you have created.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900" b="1" kern="1200" dirty="0">
                <a:solidFill>
                  <a:schemeClr val="tx1"/>
                </a:solidFill>
                <a:effectLst/>
                <a:latin typeface="Segoe UI Light" pitchFamily="34" charset="0"/>
                <a:ea typeface="+mn-ea"/>
                <a:cs typeface="+mn-cs"/>
              </a:rPr>
              <a:t>Examine the database properties and Execute the script “Create Tables in </a:t>
            </a:r>
            <a:r>
              <a:rPr lang="en-US" sz="900" b="1" kern="1200" dirty="0" err="1">
                <a:solidFill>
                  <a:schemeClr val="tx1"/>
                </a:solidFill>
                <a:effectLst/>
                <a:latin typeface="Segoe UI Light" pitchFamily="34" charset="0"/>
                <a:ea typeface="+mn-ea"/>
                <a:cs typeface="+mn-cs"/>
              </a:rPr>
              <a:t>salesdb.sql</a:t>
            </a:r>
            <a:r>
              <a:rPr lang="en-US" sz="900" b="1" kern="1200" dirty="0">
                <a:solidFill>
                  <a:schemeClr val="tx1"/>
                </a:solidFill>
                <a:effectLst/>
                <a:latin typeface="Segoe UI Light" pitchFamily="34" charset="0"/>
                <a:ea typeface="+mn-ea"/>
                <a:cs typeface="+mn-cs"/>
              </a:rPr>
              <a:t>” to show that it’s just a database. Make sure you are connect to the correct database (</a:t>
            </a:r>
            <a:r>
              <a:rPr lang="en-US" sz="900" b="1" kern="1200" dirty="0" err="1">
                <a:solidFill>
                  <a:schemeClr val="tx1"/>
                </a:solidFill>
                <a:effectLst/>
                <a:latin typeface="Segoe UI Light" pitchFamily="34" charset="0"/>
                <a:ea typeface="+mn-ea"/>
                <a:cs typeface="+mn-cs"/>
              </a:rPr>
              <a:t>salesdb</a:t>
            </a:r>
            <a:r>
              <a:rPr lang="en-US" sz="900" b="1" kern="1200" dirty="0">
                <a:solidFill>
                  <a:schemeClr val="tx1"/>
                </a:solidFill>
                <a:effectLst/>
                <a:latin typeface="Segoe UI Light" pitchFamily="34" charset="0"/>
                <a:ea typeface="+mn-ea"/>
                <a:cs typeface="+mn-cs"/>
              </a:rPr>
              <a:t>) before running the script.</a:t>
            </a:r>
            <a:endParaRPr lang="en-US" sz="900" b="1" kern="1200" dirty="0">
              <a:solidFill>
                <a:schemeClr val="tx1"/>
              </a:solidFill>
              <a:effectLst/>
              <a:latin typeface="Segoe UI Light" pitchFamily="34" charset="0"/>
              <a:ea typeface="+mn-ea"/>
              <a:cs typeface="+mn-cs"/>
              <a:sym typeface="Wingdings" panose="05000000000000000000" pitchFamily="2" charset="2"/>
            </a:endParaRP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900" b="1" kern="1200" dirty="0">
                <a:solidFill>
                  <a:schemeClr val="tx1"/>
                </a:solidFill>
                <a:effectLst/>
                <a:latin typeface="Segoe UI Light" pitchFamily="34" charset="0"/>
                <a:ea typeface="+mn-ea"/>
                <a:cs typeface="+mn-cs"/>
              </a:rPr>
              <a:t>Connect to the Azure logical server with SQL Server Data Tools and examine the database properties</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900" b="1" kern="1200" dirty="0">
                <a:solidFill>
                  <a:schemeClr val="tx1"/>
                </a:solidFill>
                <a:effectLst/>
                <a:latin typeface="Segoe UI Light" pitchFamily="34" charset="0"/>
                <a:ea typeface="+mn-ea"/>
                <a:cs typeface="+mn-cs"/>
              </a:rPr>
              <a:t>Connect to the Azure SQL Database with the Azure Portal and examine the database properties. Give a short overview, not in detail because everything will be explained later in the workshop</a:t>
            </a:r>
            <a:endParaRPr lang="nl-BE" sz="900" b="1" kern="1200" dirty="0">
              <a:solidFill>
                <a:schemeClr val="tx1"/>
              </a:solidFill>
              <a:effectLst/>
              <a:latin typeface="Segoe UI Light" pitchFamily="34" charset="0"/>
              <a:ea typeface="+mn-ea"/>
              <a:cs typeface="+mn-cs"/>
            </a:endParaRPr>
          </a:p>
          <a:p>
            <a:pPr lvl="1"/>
            <a:r>
              <a:rPr lang="en-US" sz="900" kern="1200" dirty="0">
                <a:solidFill>
                  <a:schemeClr val="tx1"/>
                </a:solidFill>
                <a:effectLst/>
                <a:latin typeface="Segoe UI Light" pitchFamily="34" charset="0"/>
                <a:ea typeface="+mn-ea"/>
                <a:cs typeface="+mn-cs"/>
              </a:rPr>
              <a:t>Overview</a:t>
            </a:r>
            <a:endParaRPr lang="nl-BE" sz="900" kern="1200" dirty="0">
              <a:solidFill>
                <a:schemeClr val="tx1"/>
              </a:solidFill>
              <a:effectLst/>
              <a:latin typeface="Segoe UI Light" pitchFamily="34" charset="0"/>
              <a:ea typeface="+mn-ea"/>
              <a:cs typeface="+mn-cs"/>
            </a:endParaRPr>
          </a:p>
          <a:p>
            <a:pPr lvl="1"/>
            <a:r>
              <a:rPr lang="en-US" sz="900" kern="1200" dirty="0">
                <a:solidFill>
                  <a:schemeClr val="tx1"/>
                </a:solidFill>
                <a:effectLst/>
                <a:latin typeface="Segoe UI Light" pitchFamily="34" charset="0"/>
                <a:ea typeface="+mn-ea"/>
                <a:cs typeface="+mn-cs"/>
              </a:rPr>
              <a:t>Settings</a:t>
            </a:r>
          </a:p>
          <a:p>
            <a:pPr lvl="1"/>
            <a:r>
              <a:rPr lang="en-US" sz="900" kern="1200" dirty="0">
                <a:solidFill>
                  <a:schemeClr val="tx1"/>
                </a:solidFill>
                <a:effectLst/>
                <a:latin typeface="Segoe UI Light" pitchFamily="34" charset="0"/>
                <a:ea typeface="+mn-ea"/>
                <a:cs typeface="+mn-cs"/>
              </a:rPr>
              <a:t>Security</a:t>
            </a:r>
            <a:endParaRPr lang="nl-BE" sz="900" kern="1200" dirty="0">
              <a:solidFill>
                <a:schemeClr val="tx1"/>
              </a:solidFill>
              <a:effectLst/>
              <a:latin typeface="Segoe UI Light" pitchFamily="34" charset="0"/>
              <a:ea typeface="+mn-ea"/>
              <a:cs typeface="+mn-cs"/>
            </a:endParaRPr>
          </a:p>
          <a:p>
            <a:pPr lvl="1"/>
            <a:r>
              <a:rPr lang="en-US" sz="900" kern="1200" dirty="0">
                <a:solidFill>
                  <a:schemeClr val="tx1"/>
                </a:solidFill>
                <a:effectLst/>
                <a:latin typeface="Segoe UI Light" pitchFamily="34" charset="0"/>
                <a:ea typeface="+mn-ea"/>
                <a:cs typeface="+mn-cs"/>
              </a:rPr>
              <a:t>Monitoring</a:t>
            </a:r>
            <a:endParaRPr lang="nl-BE" sz="900" kern="1200" dirty="0">
              <a:solidFill>
                <a:schemeClr val="tx1"/>
              </a:solidFill>
              <a:effectLst/>
              <a:latin typeface="Segoe UI Light" pitchFamily="34" charset="0"/>
              <a:ea typeface="+mn-ea"/>
              <a:cs typeface="+mn-cs"/>
            </a:endParaRPr>
          </a:p>
          <a:p>
            <a:pPr lvl="1"/>
            <a:r>
              <a:rPr lang="en-US" sz="900" kern="1200" dirty="0">
                <a:solidFill>
                  <a:schemeClr val="tx1"/>
                </a:solidFill>
                <a:effectLst/>
                <a:latin typeface="Segoe UI Light" pitchFamily="34" charset="0"/>
                <a:ea typeface="+mn-ea"/>
                <a:cs typeface="+mn-cs"/>
              </a:rPr>
              <a:t>Support + Troubleshooting</a:t>
            </a:r>
            <a:endParaRPr lang="nl-BE" sz="900"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nl-BE" sz="900" b="1" kern="1200" dirty="0">
              <a:solidFill>
                <a:schemeClr val="tx1"/>
              </a:solidFill>
              <a:effectLst/>
              <a:latin typeface="Segoe UI Light" pitchFamily="34" charset="0"/>
              <a:ea typeface="+mn-ea"/>
              <a:cs typeface="+mn-cs"/>
            </a:endParaRPr>
          </a:p>
          <a:p>
            <a:pPr marL="0" indent="0">
              <a:buFont typeface="Arial" panose="020B0604020202020204" pitchFamily="34" charset="0"/>
              <a:buNone/>
            </a:pPr>
            <a:endParaRPr lang="en-US" b="1" dirty="0"/>
          </a:p>
          <a:p>
            <a:pPr marL="0" indent="0">
              <a:buFont typeface="Arial" panose="020B0604020202020204" pitchFamily="34" charset="0"/>
              <a:buNone/>
            </a:pPr>
            <a:endParaRPr lang="en-US" dirty="0"/>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1788216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1800" dirty="0">
                <a:solidFill>
                  <a:srgbClr val="000000"/>
                </a:solidFill>
                <a:latin typeface="Consolas" panose="020B0609020204030204" pitchFamily="49" charset="0"/>
              </a:rPr>
              <a:t>M02L01Lab01</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35411451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14702196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770818494"/>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315430090"/>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43240914"/>
      </p:ext>
    </p:extLst>
  </p:cSld>
  <p:clrMapOvr>
    <a:masterClrMapping/>
  </p:clrMapOvr>
  <p:hf sldNum="0" hdr="0" ftr="0" dt="0"/>
  <p:extLst>
    <p:ext uri="{DCECCB84-F9BA-43D5-87BE-67443E8EF086}">
      <p15:sldGuideLst xmlns:p15="http://schemas.microsoft.com/office/powerpoint/2012/main">
        <p15:guide id="10" pos="413" userDrawn="1">
          <p15:clr>
            <a:srgbClr val="547EBF"/>
          </p15:clr>
        </p15:guide>
        <p15:guide id="11" orient="horz" pos="789" userDrawn="1">
          <p15:clr>
            <a:srgbClr val="547EBF"/>
          </p15:clr>
        </p15:guide>
        <p15:guide id="12" orient="horz" pos="887" userDrawn="1">
          <p15:clr>
            <a:srgbClr val="547EBF"/>
          </p15:clr>
        </p15:guide>
        <p15:guide id="13" pos="3742" userDrawn="1">
          <p15:clr>
            <a:srgbClr val="547EBF"/>
          </p15:clr>
        </p15:guide>
        <p15:guide id="14" pos="3938" userDrawn="1">
          <p15:clr>
            <a:srgbClr val="547EBF"/>
          </p15:clr>
        </p15:guide>
        <p15:guide id="15" pos="7267" userDrawn="1">
          <p15:clr>
            <a:srgbClr val="547EBF"/>
          </p15:clr>
        </p15:guide>
        <p15:guide id="16" orient="horz" pos="495" userDrawn="1">
          <p15:clr>
            <a:srgbClr val="547EBF"/>
          </p15:clr>
        </p15:guide>
        <p15:guide id="17" orient="horz" pos="202" userDrawn="1">
          <p15:clr>
            <a:srgbClr val="547EBF"/>
          </p15:clr>
        </p15:guide>
        <p15:guide id="18" orient="horz" pos="3923" userDrawn="1">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95153712"/>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3478427994"/>
      </p:ext>
    </p:extLst>
  </p:cSld>
  <p:clrMapOvr>
    <a:masterClrMapping/>
  </p:clrMapOvr>
  <p:hf sldNum="0" hdr="0" ftr="0" dt="0"/>
  <p:extLst>
    <p:ext uri="{DCECCB84-F9BA-43D5-87BE-67443E8EF086}">
      <p15:sldGuideLst xmlns:p15="http://schemas.microsoft.com/office/powerpoint/2012/main">
        <p15:guide id="30" pos="3742" userDrawn="1">
          <p15:clr>
            <a:srgbClr val="547EBF"/>
          </p15:clr>
        </p15:guide>
        <p15:guide id="31" orient="horz" pos="887" userDrawn="1">
          <p15:clr>
            <a:srgbClr val="547EBF"/>
          </p15:clr>
        </p15:guide>
        <p15:guide id="32" pos="3938" userDrawn="1">
          <p15:clr>
            <a:srgbClr val="547EBF"/>
          </p15:clr>
        </p15:guide>
        <p15:guide id="33" pos="3350" userDrawn="1">
          <p15:clr>
            <a:srgbClr val="A4A3A4"/>
          </p15:clr>
        </p15:guide>
        <p15:guide id="34" pos="3155" userDrawn="1">
          <p15:clr>
            <a:srgbClr val="A4A3A4"/>
          </p15:clr>
        </p15:guide>
        <p15:guide id="35" pos="2763" userDrawn="1">
          <p15:clr>
            <a:srgbClr val="A4A3A4"/>
          </p15:clr>
        </p15:guide>
        <p15:guide id="36" pos="2567" userDrawn="1">
          <p15:clr>
            <a:srgbClr val="A4A3A4"/>
          </p15:clr>
        </p15:guide>
        <p15:guide id="37" pos="2175" userDrawn="1">
          <p15:clr>
            <a:srgbClr val="A4A3A4"/>
          </p15:clr>
        </p15:guide>
        <p15:guide id="38" pos="1980" userDrawn="1">
          <p15:clr>
            <a:srgbClr val="A4A3A4"/>
          </p15:clr>
        </p15:guide>
        <p15:guide id="39" pos="1588" userDrawn="1">
          <p15:clr>
            <a:srgbClr val="A4A3A4"/>
          </p15:clr>
        </p15:guide>
        <p15:guide id="40" pos="1392" userDrawn="1">
          <p15:clr>
            <a:srgbClr val="A4A3A4"/>
          </p15:clr>
        </p15:guide>
        <p15:guide id="41" pos="1000" userDrawn="1">
          <p15:clr>
            <a:srgbClr val="A4A3A4"/>
          </p15:clr>
        </p15:guide>
        <p15:guide id="42" pos="804" userDrawn="1">
          <p15:clr>
            <a:srgbClr val="A4A3A4"/>
          </p15:clr>
        </p15:guide>
        <p15:guide id="43" pos="413" userDrawn="1">
          <p15:clr>
            <a:srgbClr val="547EBF"/>
          </p15:clr>
        </p15:guide>
        <p15:guide id="44" pos="4330" userDrawn="1">
          <p15:clr>
            <a:srgbClr val="A4A3A4"/>
          </p15:clr>
        </p15:guide>
        <p15:guide id="45" pos="4525" userDrawn="1">
          <p15:clr>
            <a:srgbClr val="A4A3A4"/>
          </p15:clr>
        </p15:guide>
        <p15:guide id="46" pos="5505" userDrawn="1">
          <p15:clr>
            <a:srgbClr val="A4A3A4"/>
          </p15:clr>
        </p15:guide>
        <p15:guide id="47" pos="5113" userDrawn="1">
          <p15:clr>
            <a:srgbClr val="A4A3A4"/>
          </p15:clr>
        </p15:guide>
        <p15:guide id="48" pos="4917" userDrawn="1">
          <p15:clr>
            <a:srgbClr val="A4A3A4"/>
          </p15:clr>
        </p15:guide>
        <p15:guide id="49" pos="5700" userDrawn="1">
          <p15:clr>
            <a:srgbClr val="A4A3A4"/>
          </p15:clr>
        </p15:guide>
        <p15:guide id="50" pos="6092" userDrawn="1">
          <p15:clr>
            <a:srgbClr val="A4A3A4"/>
          </p15:clr>
        </p15:guide>
        <p15:guide id="51" pos="6288" userDrawn="1">
          <p15:clr>
            <a:srgbClr val="A4A3A4"/>
          </p15:clr>
        </p15:guide>
        <p15:guide id="52" pos="6680" userDrawn="1">
          <p15:clr>
            <a:srgbClr val="A4A3A4"/>
          </p15:clr>
        </p15:guide>
        <p15:guide id="53" pos="6876" userDrawn="1">
          <p15:clr>
            <a:srgbClr val="A4A3A4"/>
          </p15:clr>
        </p15:guide>
        <p15:guide id="54" pos="7267" userDrawn="1">
          <p15:clr>
            <a:srgbClr val="547EBF"/>
          </p15:clr>
        </p15:guide>
        <p15:guide id="55" orient="horz" pos="3923" userDrawn="1">
          <p15:clr>
            <a:srgbClr val="547EBF"/>
          </p15:clr>
        </p15:guide>
        <p15:guide id="56" orient="horz" pos="789" userDrawn="1">
          <p15:clr>
            <a:srgbClr val="547EBF"/>
          </p15:clr>
        </p15:guide>
        <p15:guide id="57" orient="horz" pos="202" userDrawn="1">
          <p15:clr>
            <a:srgbClr val="547EBF"/>
          </p15:clr>
        </p15:guide>
        <p15:guide id="58" orient="horz" pos="495" userDrawn="1">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3082325972"/>
      </p:ext>
    </p:extLst>
  </p:cSld>
  <p:clrMapOvr>
    <a:masterClrMapping/>
  </p:clrMapOvr>
  <p:hf sldNum="0" hdr="0" ftr="0" dt="0"/>
  <p:extLst>
    <p:ext uri="{DCECCB84-F9BA-43D5-87BE-67443E8EF086}">
      <p15:sldGuideLst xmlns:p15="http://schemas.microsoft.com/office/powerpoint/2012/main">
        <p15:guide id="30" pos="413" userDrawn="1">
          <p15:clr>
            <a:srgbClr val="547EBF"/>
          </p15:clr>
        </p15:guide>
        <p15:guide id="31" orient="horz" pos="887" userDrawn="1">
          <p15:clr>
            <a:srgbClr val="547EBF"/>
          </p15:clr>
        </p15:guide>
        <p15:guide id="32" orient="horz" pos="789" userDrawn="1">
          <p15:clr>
            <a:srgbClr val="547EBF"/>
          </p15:clr>
        </p15:guide>
        <p15:guide id="33" orient="horz" pos="495" userDrawn="1">
          <p15:clr>
            <a:srgbClr val="547EBF"/>
          </p15:clr>
        </p15:guide>
        <p15:guide id="34" orient="horz" pos="202" userDrawn="1">
          <p15:clr>
            <a:srgbClr val="547EBF"/>
          </p15:clr>
        </p15:guide>
        <p15:guide id="35" orient="horz" pos="3923" userDrawn="1">
          <p15:clr>
            <a:srgbClr val="547EBF"/>
          </p15:clr>
        </p15:guide>
        <p15:guide id="36" pos="804" userDrawn="1">
          <p15:clr>
            <a:srgbClr val="A4A3A4"/>
          </p15:clr>
        </p15:guide>
        <p15:guide id="37" pos="1000" userDrawn="1">
          <p15:clr>
            <a:srgbClr val="A4A3A4"/>
          </p15:clr>
        </p15:guide>
        <p15:guide id="38" pos="1392" userDrawn="1">
          <p15:clr>
            <a:srgbClr val="A4A3A4"/>
          </p15:clr>
        </p15:guide>
        <p15:guide id="39" pos="1588" userDrawn="1">
          <p15:clr>
            <a:srgbClr val="A4A3A4"/>
          </p15:clr>
        </p15:guide>
        <p15:guide id="40" pos="1980" userDrawn="1">
          <p15:clr>
            <a:srgbClr val="A4A3A4"/>
          </p15:clr>
        </p15:guide>
        <p15:guide id="41" pos="2175" userDrawn="1">
          <p15:clr>
            <a:srgbClr val="A4A3A4"/>
          </p15:clr>
        </p15:guide>
        <p15:guide id="42" pos="2567" userDrawn="1">
          <p15:clr>
            <a:srgbClr val="A4A3A4"/>
          </p15:clr>
        </p15:guide>
        <p15:guide id="43" pos="2763" userDrawn="1">
          <p15:clr>
            <a:srgbClr val="A4A3A4"/>
          </p15:clr>
        </p15:guide>
        <p15:guide id="44" pos="3155" userDrawn="1">
          <p15:clr>
            <a:srgbClr val="A4A3A4"/>
          </p15:clr>
        </p15:guide>
        <p15:guide id="45" pos="3350" userDrawn="1">
          <p15:clr>
            <a:srgbClr val="A4A3A4"/>
          </p15:clr>
        </p15:guide>
        <p15:guide id="46" pos="3742" userDrawn="1">
          <p15:clr>
            <a:srgbClr val="547EBF"/>
          </p15:clr>
        </p15:guide>
        <p15:guide id="47" pos="3938" userDrawn="1">
          <p15:clr>
            <a:srgbClr val="547EBF"/>
          </p15:clr>
        </p15:guide>
        <p15:guide id="48" pos="4330" userDrawn="1">
          <p15:clr>
            <a:srgbClr val="A4A3A4"/>
          </p15:clr>
        </p15:guide>
        <p15:guide id="49" pos="4525" userDrawn="1">
          <p15:clr>
            <a:srgbClr val="A4A3A4"/>
          </p15:clr>
        </p15:guide>
        <p15:guide id="50" pos="5113" userDrawn="1">
          <p15:clr>
            <a:srgbClr val="A4A3A4"/>
          </p15:clr>
        </p15:guide>
        <p15:guide id="51" pos="4917" userDrawn="1">
          <p15:clr>
            <a:srgbClr val="A4A3A4"/>
          </p15:clr>
        </p15:guide>
        <p15:guide id="52" pos="5505" userDrawn="1">
          <p15:clr>
            <a:srgbClr val="A4A3A4"/>
          </p15:clr>
        </p15:guide>
        <p15:guide id="53" pos="5700" userDrawn="1">
          <p15:clr>
            <a:srgbClr val="A4A3A4"/>
          </p15:clr>
        </p15:guide>
        <p15:guide id="54" pos="6092" userDrawn="1">
          <p15:clr>
            <a:srgbClr val="A4A3A4"/>
          </p15:clr>
        </p15:guide>
        <p15:guide id="55" pos="6288" userDrawn="1">
          <p15:clr>
            <a:srgbClr val="A4A3A4"/>
          </p15:clr>
        </p15:guide>
        <p15:guide id="56" pos="6680" userDrawn="1">
          <p15:clr>
            <a:srgbClr val="A4A3A4"/>
          </p15:clr>
        </p15:guide>
        <p15:guide id="57" pos="6876" userDrawn="1">
          <p15:clr>
            <a:srgbClr val="A4A3A4"/>
          </p15:clr>
        </p15:guide>
        <p15:guide id="58" pos="7267" userDrawn="1">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dirty="0"/>
              <a:t>Click to edit Master title style</a:t>
            </a:r>
          </a:p>
        </p:txBody>
      </p:sp>
    </p:spTree>
    <p:extLst>
      <p:ext uri="{BB962C8B-B14F-4D97-AF65-F5344CB8AC3E}">
        <p14:creationId xmlns:p14="http://schemas.microsoft.com/office/powerpoint/2010/main" val="659626993"/>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541337545"/>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198557511"/>
      </p:ext>
    </p:extLst>
  </p:cSld>
  <p:clrMapOvr>
    <a:masterClrMapping/>
  </p:clrMapOvr>
  <p:hf sldNum="0" hdr="0" ftr="0" dt="0"/>
  <p:extLst>
    <p:ext uri="{DCECCB84-F9BA-43D5-87BE-67443E8EF086}">
      <p15:sldGuideLst xmlns:p15="http://schemas.microsoft.com/office/powerpoint/2012/main">
        <p15:guide id="6" pos="413" userDrawn="1">
          <p15:clr>
            <a:srgbClr val="547EBF"/>
          </p15:clr>
        </p15:guide>
        <p15:guide id="7" pos="6092" userDrawn="1">
          <p15:clr>
            <a:srgbClr val="547EBF"/>
          </p15:clr>
        </p15:guide>
        <p15:guide id="8" orient="horz" pos="2160" userDrawn="1">
          <p15:clr>
            <a:srgbClr val="547EBF"/>
          </p15:clr>
        </p15:guide>
        <p15:guide id="9" orient="horz" pos="2258" userDrawn="1">
          <p15:clr>
            <a:srgbClr val="547EBF"/>
          </p15:clr>
        </p15:guide>
        <p15:guide id="10" orient="horz" pos="1866" userDrawn="1">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9038489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dirty="0"/>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dirty="0"/>
              <a:t>Presenter Name</a:t>
            </a:r>
          </a:p>
        </p:txBody>
      </p:sp>
    </p:spTree>
    <p:extLst>
      <p:ext uri="{BB962C8B-B14F-4D97-AF65-F5344CB8AC3E}">
        <p14:creationId xmlns:p14="http://schemas.microsoft.com/office/powerpoint/2010/main" val="26453520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dirty="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dirty="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386417161"/>
      </p:ext>
    </p:extLst>
  </p:cSld>
  <p:clrMapOvr>
    <a:masterClrMapping/>
  </p:clrMapOvr>
  <p:hf sldNum="0" hdr="0" ftr="0" dt="0"/>
  <p:extLst>
    <p:ext uri="{DCECCB84-F9BA-43D5-87BE-67443E8EF086}">
      <p15:sldGuideLst xmlns:p15="http://schemas.microsoft.com/office/powerpoint/2012/main">
        <p15:guide id="17" orient="horz" pos="1964" userDrawn="1">
          <p15:clr>
            <a:srgbClr val="547EBF"/>
          </p15:clr>
        </p15:guide>
        <p15:guide id="18" orient="horz" pos="2258" userDrawn="1">
          <p15:clr>
            <a:srgbClr val="547EBF"/>
          </p15:clr>
        </p15:guide>
        <p15:guide id="19" pos="3350" userDrawn="1">
          <p15:clr>
            <a:srgbClr val="547EBF"/>
          </p15:clr>
        </p15:guide>
        <p15:guide id="20" pos="3155" userDrawn="1">
          <p15:clr>
            <a:srgbClr val="547EBF"/>
          </p15:clr>
        </p15:guide>
        <p15:guide id="21" pos="413" userDrawn="1">
          <p15:clr>
            <a:srgbClr val="547EBF"/>
          </p15:clr>
        </p15:guide>
        <p15:guide id="22" orient="horz" pos="397" userDrawn="1">
          <p15:clr>
            <a:srgbClr val="547EBF"/>
          </p15:clr>
        </p15:guide>
        <p15:guide id="23" orient="horz" pos="3923" userDrawn="1">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601684691"/>
      </p:ext>
    </p:extLst>
  </p:cSld>
  <p:clrMapOvr>
    <a:masterClrMapping/>
  </p:clrMapOvr>
  <p:hf sldNum="0" hdr="0" ftr="0" dt="0"/>
  <p:extLst>
    <p:ext uri="{DCECCB84-F9BA-43D5-87BE-67443E8EF086}">
      <p15:sldGuideLst xmlns:p15="http://schemas.microsoft.com/office/powerpoint/2012/main">
        <p15:guide id="17" orient="horz" pos="864" userDrawn="1">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318093227"/>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741822652"/>
      </p:ext>
    </p:extLst>
  </p:cSld>
  <p:clrMapOvr>
    <a:masterClrMapping/>
  </p:clrMapOvr>
  <p:hf sldNum="0" hdr="0" ftr="0" dt="0"/>
  <p:extLst>
    <p:ext uri="{DCECCB84-F9BA-43D5-87BE-67443E8EF086}">
      <p15:sldGuideLst xmlns:p15="http://schemas.microsoft.com/office/powerpoint/2012/main">
        <p15:guide id="10" orient="horz" pos="397" userDrawn="1">
          <p15:clr>
            <a:srgbClr val="547EBF"/>
          </p15:clr>
        </p15:guide>
        <p15:guide id="11" pos="3155" userDrawn="1">
          <p15:clr>
            <a:srgbClr val="547EBF"/>
          </p15:clr>
        </p15:guide>
        <p15:guide id="12" pos="3350" userDrawn="1">
          <p15:clr>
            <a:srgbClr val="547EBF"/>
          </p15:clr>
        </p15:guide>
        <p15:guide id="13" pos="413" userDrawn="1">
          <p15:clr>
            <a:srgbClr val="547EBF"/>
          </p15:clr>
        </p15:guide>
        <p15:guide id="14" orient="horz" pos="3923" userDrawn="1">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916159362"/>
      </p:ext>
    </p:extLst>
  </p:cSld>
  <p:clrMapOvr>
    <a:masterClrMapping/>
  </p:clrMapOvr>
  <p:hf sldNum="0" hdr="0" ftr="0" dt="0"/>
  <p:extLst>
    <p:ext uri="{DCECCB84-F9BA-43D5-87BE-67443E8EF086}">
      <p15:sldGuideLst xmlns:p15="http://schemas.microsoft.com/office/powerpoint/2012/main">
        <p15:guide id="8" orient="horz" pos="1877" userDrawn="1">
          <p15:clr>
            <a:srgbClr val="547EBF"/>
          </p15:clr>
        </p15:guide>
        <p15:guide id="9" orient="horz" pos="3923" userDrawn="1">
          <p15:clr>
            <a:srgbClr val="547EBF"/>
          </p15:clr>
        </p15:guide>
        <p15:guide id="10" pos="3350" userDrawn="1">
          <p15:clr>
            <a:srgbClr val="547EBF"/>
          </p15:clr>
        </p15:guide>
        <p15:guide id="11" pos="3155" userDrawn="1">
          <p15:clr>
            <a:srgbClr val="547EBF"/>
          </p15:clr>
        </p15:guide>
        <p15:guide id="12" pos="413" userDrawn="1">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603300898"/>
      </p:ext>
    </p:extLst>
  </p:cSld>
  <p:clrMapOvr>
    <a:masterClrMapping/>
  </p:clrMapOvr>
  <p:hf sldNum="0" hdr="0" ftr="0" dt="0"/>
  <p:extLst>
    <p:ext uri="{DCECCB84-F9BA-43D5-87BE-67443E8EF086}">
      <p15:sldGuideLst xmlns:p15="http://schemas.microsoft.com/office/powerpoint/2012/main">
        <p15:guide id="10" orient="horz" pos="2943" userDrawn="1">
          <p15:clr>
            <a:srgbClr val="547EBF"/>
          </p15:clr>
        </p15:guide>
        <p15:guide id="11" orient="horz" pos="3923" userDrawn="1">
          <p15:clr>
            <a:srgbClr val="547EBF"/>
          </p15:clr>
        </p15:guide>
        <p15:guide id="12" orient="horz" pos="3139" userDrawn="1">
          <p15:clr>
            <a:srgbClr val="547EBF"/>
          </p15:clr>
        </p15:guide>
        <p15:guide id="13" pos="413" userDrawn="1">
          <p15:clr>
            <a:srgbClr val="547EBF"/>
          </p15:clr>
        </p15:guide>
        <p15:guide id="14" pos="7267" userDrawn="1">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863496086"/>
      </p:ext>
    </p:extLst>
  </p:cSld>
  <p:clrMapOvr>
    <a:masterClrMapping/>
  </p:clrMapOvr>
  <p:hf sldNum="0" hdr="0" ftr="0" dt="0"/>
  <p:extLst>
    <p:ext uri="{DCECCB84-F9BA-43D5-87BE-67443E8EF086}">
      <p15:sldGuideLst xmlns:p15="http://schemas.microsoft.com/office/powerpoint/2012/main">
        <p15:guide id="10" orient="horz" pos="1279" userDrawn="1">
          <p15:clr>
            <a:srgbClr val="547EBF"/>
          </p15:clr>
        </p15:guide>
        <p15:guide id="11" orient="horz" pos="397" userDrawn="1">
          <p15:clr>
            <a:srgbClr val="547EBF"/>
          </p15:clr>
        </p15:guide>
        <p15:guide id="12" orient="horz" pos="1181" userDrawn="1">
          <p15:clr>
            <a:srgbClr val="547EBF"/>
          </p15:clr>
        </p15:guide>
        <p15:guide id="13" pos="413" userDrawn="1">
          <p15:clr>
            <a:srgbClr val="547EBF"/>
          </p15:clr>
        </p15:guide>
        <p15:guide id="14" pos="7267" userDrawn="1">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dirty="0"/>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714198284"/>
      </p:ext>
    </p:extLst>
  </p:cSld>
  <p:clrMapOvr>
    <a:masterClrMapping/>
  </p:clrMapOvr>
  <p:hf sldNum="0" hdr="0" ftr="0" dt="0"/>
  <p:extLst>
    <p:ext uri="{DCECCB84-F9BA-43D5-87BE-67443E8EF086}">
      <p15:sldGuideLst xmlns:p15="http://schemas.microsoft.com/office/powerpoint/2012/main">
        <p15:guide id="15" orient="horz" pos="3433" userDrawn="1">
          <p15:clr>
            <a:srgbClr val="547EBF"/>
          </p15:clr>
        </p15:guide>
        <p15:guide id="16" orient="horz" pos="1276" userDrawn="1">
          <p15:clr>
            <a:srgbClr val="547EBF"/>
          </p15:clr>
        </p15:guide>
        <p15:guide id="17" pos="3749" userDrawn="1">
          <p15:clr>
            <a:srgbClr val="547EBF"/>
          </p15:clr>
        </p15:guide>
        <p15:guide id="18" pos="3931" userDrawn="1">
          <p15:clr>
            <a:srgbClr val="547EBF"/>
          </p15:clr>
        </p15:guide>
        <p15:guide id="19" orient="horz" pos="3531" userDrawn="1">
          <p15:clr>
            <a:srgbClr val="547EBF"/>
          </p15:clr>
        </p15:guide>
        <p15:guide id="20" orient="horz" pos="3923" userDrawn="1">
          <p15:clr>
            <a:srgbClr val="547EBF"/>
          </p15:clr>
        </p15:guide>
        <p15:guide id="21" pos="413" userDrawn="1">
          <p15:clr>
            <a:srgbClr val="547EBF"/>
          </p15:clr>
        </p15:guide>
        <p15:guide id="22" pos="7267" userDrawn="1">
          <p15:clr>
            <a:srgbClr val="547EBF"/>
          </p15:clr>
        </p15:guide>
        <p15:guide id="23" orient="horz" pos="202" userDrawn="1">
          <p15:clr>
            <a:srgbClr val="547EBF"/>
          </p15:clr>
        </p15:guide>
        <p15:guide id="24" orient="horz" pos="495" userDrawn="1">
          <p15:clr>
            <a:srgbClr val="547EBF"/>
          </p15:clr>
        </p15:guide>
        <p15:guide id="25" orient="horz" pos="789" userDrawn="1">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dirty="0"/>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01445911"/>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708169698"/>
      </p:ext>
    </p:extLst>
  </p:cSld>
  <p:clrMapOvr>
    <a:masterClrMapping/>
  </p:clrMapOvr>
  <p:hf sldNum="0" hdr="0" ftr="0" dt="0"/>
  <p:extLst>
    <p:ext uri="{DCECCB84-F9BA-43D5-87BE-67443E8EF086}">
      <p15:sldGuideLst xmlns:p15="http://schemas.microsoft.com/office/powerpoint/2012/main">
        <p15:guide id="21" orient="horz" pos="3531" userDrawn="1">
          <p15:clr>
            <a:srgbClr val="547EBF"/>
          </p15:clr>
        </p15:guide>
        <p15:guide id="22" orient="horz" pos="1279" userDrawn="1">
          <p15:clr>
            <a:srgbClr val="547EBF"/>
          </p15:clr>
        </p15:guide>
        <p15:guide id="23" orient="horz" pos="3433" userDrawn="1">
          <p15:clr>
            <a:srgbClr val="547EBF"/>
          </p15:clr>
        </p15:guide>
        <p15:guide id="24" orient="horz" pos="202" userDrawn="1">
          <p15:clr>
            <a:srgbClr val="547EBF"/>
          </p15:clr>
        </p15:guide>
        <p15:guide id="25" orient="horz" pos="495" userDrawn="1">
          <p15:clr>
            <a:srgbClr val="547EBF"/>
          </p15:clr>
        </p15:guide>
        <p15:guide id="26" orient="horz" pos="789" userDrawn="1">
          <p15:clr>
            <a:srgbClr val="547EBF"/>
          </p15:clr>
        </p15:guide>
        <p15:guide id="27" pos="413" userDrawn="1">
          <p15:clr>
            <a:srgbClr val="547EBF"/>
          </p15:clr>
        </p15:guide>
        <p15:guide id="28" pos="7267" userDrawn="1">
          <p15:clr>
            <a:srgbClr val="547EBF"/>
          </p15:clr>
        </p15:guide>
        <p15:guide id="29" orient="horz" pos="3923" userDrawn="1">
          <p15:clr>
            <a:srgbClr val="547EBF"/>
          </p15:clr>
        </p15:guide>
        <p15:guide id="30" pos="2567" userDrawn="1">
          <p15:clr>
            <a:srgbClr val="547EBF"/>
          </p15:clr>
        </p15:guide>
        <p15:guide id="31" pos="2763" userDrawn="1">
          <p15:clr>
            <a:srgbClr val="547EBF"/>
          </p15:clr>
        </p15:guide>
        <p15:guide id="32" pos="4917" userDrawn="1">
          <p15:clr>
            <a:srgbClr val="547EBF"/>
          </p15:clr>
        </p15:guide>
        <p15:guide id="33" pos="5113" userDrawn="1">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dirty="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95275719"/>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056462322"/>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380109012"/>
      </p:ext>
    </p:extLst>
  </p:cSld>
  <p:clrMapOvr>
    <a:masterClrMapping/>
  </p:clrMapOvr>
  <p:hf sldNum="0" hdr="0" ftr="0" dt="0"/>
  <p:extLst>
    <p:ext uri="{DCECCB84-F9BA-43D5-87BE-67443E8EF086}">
      <p15:sldGuideLst xmlns:p15="http://schemas.microsoft.com/office/powerpoint/2012/main">
        <p15:guide id="18" orient="horz" pos="2943" userDrawn="1">
          <p15:clr>
            <a:srgbClr val="547EBF"/>
          </p15:clr>
        </p15:guide>
        <p15:guide id="19" orient="horz" pos="1279" userDrawn="1">
          <p15:clr>
            <a:srgbClr val="547EBF"/>
          </p15:clr>
        </p15:guide>
        <p15:guide id="20" orient="horz" pos="2845" userDrawn="1">
          <p15:clr>
            <a:srgbClr val="547EBF"/>
          </p15:clr>
        </p15:guide>
        <p15:guide id="21" orient="horz" pos="3936" userDrawn="1">
          <p15:clr>
            <a:srgbClr val="547EBF"/>
          </p15:clr>
        </p15:guide>
        <p15:guide id="22" orient="horz" pos="202" userDrawn="1">
          <p15:clr>
            <a:srgbClr val="547EBF"/>
          </p15:clr>
        </p15:guide>
        <p15:guide id="23" orient="horz" pos="495" userDrawn="1">
          <p15:clr>
            <a:srgbClr val="547EBF"/>
          </p15:clr>
        </p15:guide>
        <p15:guide id="24" orient="horz" pos="789" userDrawn="1">
          <p15:clr>
            <a:srgbClr val="547EBF"/>
          </p15:clr>
        </p15:guide>
        <p15:guide id="25" pos="413" userDrawn="1">
          <p15:clr>
            <a:srgbClr val="547EBF"/>
          </p15:clr>
        </p15:guide>
        <p15:guide id="26" pos="7267" userDrawn="1">
          <p15:clr>
            <a:srgbClr val="547EBF"/>
          </p15:clr>
        </p15:guide>
        <p15:guide id="27" pos="1980" userDrawn="1">
          <p15:clr>
            <a:srgbClr val="547EBF"/>
          </p15:clr>
        </p15:guide>
        <p15:guide id="28" pos="2175" userDrawn="1">
          <p15:clr>
            <a:srgbClr val="547EBF"/>
          </p15:clr>
        </p15:guide>
        <p15:guide id="29" pos="3742" userDrawn="1">
          <p15:clr>
            <a:srgbClr val="547EBF"/>
          </p15:clr>
        </p15:guide>
        <p15:guide id="30" pos="3938" userDrawn="1">
          <p15:clr>
            <a:srgbClr val="547EBF"/>
          </p15:clr>
        </p15:guide>
        <p15:guide id="31" pos="5700" userDrawn="1">
          <p15:clr>
            <a:srgbClr val="547EBF"/>
          </p15:clr>
        </p15:guide>
        <p15:guide id="32" pos="5505" userDrawn="1">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404603587"/>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648333319"/>
      </p:ext>
    </p:extLst>
  </p:cSld>
  <p:clrMapOvr>
    <a:masterClrMapping/>
  </p:clrMapOvr>
  <p:extLst>
    <p:ext uri="{DCECCB84-F9BA-43D5-87BE-67443E8EF086}">
      <p15:sldGuideLst xmlns:p15="http://schemas.microsoft.com/office/powerpoint/2012/main">
        <p15:guide id="20" pos="4944" userDrawn="1">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98432684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572066686"/>
      </p:ext>
    </p:extLst>
  </p:cSld>
  <p:clrMapOvr>
    <a:masterClrMapping/>
  </p:clrMapOvr>
  <p:hf sldNum="0" hdr="0" ftr="0" dt="0"/>
  <p:extLst>
    <p:ext uri="{DCECCB84-F9BA-43D5-87BE-67443E8EF086}">
      <p15:sldGuideLst xmlns:p15="http://schemas.microsoft.com/office/powerpoint/2012/main">
        <p15:guide id="36" orient="horz" pos="3936" userDrawn="1">
          <p15:clr>
            <a:srgbClr val="547EBF"/>
          </p15:clr>
        </p15:guide>
        <p15:guide id="37" pos="2376" userDrawn="1">
          <p15:clr>
            <a:srgbClr val="FFFFFF"/>
          </p15:clr>
        </p15:guide>
        <p15:guide id="38" orient="horz" pos="880" userDrawn="1">
          <p15:clr>
            <a:srgbClr val="547EBF"/>
          </p15:clr>
        </p15:guide>
        <p15:guide id="39" pos="4656" userDrawn="1">
          <p15:clr>
            <a:srgbClr val="547EBF"/>
          </p15:clr>
        </p15:guide>
        <p15:guide id="40" pos="7267" userDrawn="1">
          <p15:clr>
            <a:srgbClr val="547EBF"/>
          </p15:clr>
        </p15:guide>
        <p15:guide id="41" pos="2763" userDrawn="1">
          <p15:clr>
            <a:srgbClr val="547EBF"/>
          </p15:clr>
        </p15:guide>
        <p15:guide id="42" pos="413" userDrawn="1">
          <p15:clr>
            <a:srgbClr val="FFFFFF"/>
          </p15:clr>
        </p15:guide>
        <p15:guide id="43" pos="4800"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dirty="0"/>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96899194"/>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212049326"/>
      </p:ext>
    </p:extLst>
  </p:cSld>
  <p:clrMapOvr>
    <a:masterClrMapping/>
  </p:clrMapOvr>
  <p:hf sldNum="0" hdr="0" ftr="0" dt="0"/>
  <p:extLst>
    <p:ext uri="{DCECCB84-F9BA-43D5-87BE-67443E8EF086}">
      <p15:sldGuideLst xmlns:p15="http://schemas.microsoft.com/office/powerpoint/2012/main">
        <p15:guide id="37" orient="horz" pos="397" userDrawn="1">
          <p15:clr>
            <a:srgbClr val="547EBF"/>
          </p15:clr>
        </p15:guide>
        <p15:guide id="38" orient="horz" pos="3923" userDrawn="1">
          <p15:clr>
            <a:srgbClr val="547EBF"/>
          </p15:clr>
        </p15:guide>
        <p15:guide id="39" pos="2763" userDrawn="1">
          <p15:clr>
            <a:srgbClr val="547EBF"/>
          </p15:clr>
        </p15:guide>
        <p15:guide id="40" pos="413" userDrawn="1">
          <p15:clr>
            <a:srgbClr val="547EBF"/>
          </p15:clr>
        </p15:guide>
        <p15:guide id="41" pos="2371" userDrawn="1">
          <p15:clr>
            <a:srgbClr val="547EBF"/>
          </p15:clr>
        </p15:guide>
        <p15:guide id="42" pos="3155" userDrawn="1">
          <p15:clr>
            <a:srgbClr val="547EBF"/>
          </p15:clr>
        </p15:guide>
        <p15:guide id="43" pos="7267" userDrawn="1">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84263235"/>
      </p:ext>
    </p:extLst>
  </p:cSld>
  <p:clrMapOvr>
    <a:masterClrMapping/>
  </p:clrMapOvr>
  <p:hf sldNum="0" hdr="0" ftr="0" dt="0"/>
  <p:extLst>
    <p:ext uri="{DCECCB84-F9BA-43D5-87BE-67443E8EF086}">
      <p15:sldGuideLst xmlns:p15="http://schemas.microsoft.com/office/powerpoint/2012/main">
        <p15:guide id="8" pos="413" userDrawn="1">
          <p15:clr>
            <a:srgbClr val="547EBF"/>
          </p15:clr>
        </p15:guide>
        <p15:guide id="9" orient="horz" pos="495" userDrawn="1">
          <p15:clr>
            <a:srgbClr val="547EBF"/>
          </p15:clr>
        </p15:guide>
        <p15:guide id="10" pos="7267" userDrawn="1">
          <p15:clr>
            <a:srgbClr val="547EBF"/>
          </p15:clr>
        </p15:guide>
        <p15:guide id="11" orient="horz" pos="202" userDrawn="1">
          <p15:clr>
            <a:srgbClr val="547EBF"/>
          </p15:clr>
        </p15:guide>
        <p15:guide id="12" orient="horz" pos="789" userDrawn="1">
          <p15:clr>
            <a:srgbClr val="547EBF"/>
          </p15:clr>
        </p15:guide>
        <p15:guide id="13" orient="horz" pos="912" userDrawn="1">
          <p15:clr>
            <a:srgbClr val="547EBF"/>
          </p15:clr>
        </p15:guide>
        <p15:guide id="14" orient="horz" pos="3923" userDrawn="1">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75276970"/>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dirty="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dirty="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47929434"/>
      </p:ext>
    </p:extLst>
  </p:cSld>
  <p:clrMapOvr>
    <a:masterClrMapping/>
  </p:clrMapOvr>
  <p:hf sldNum="0" hdr="0" ftr="0" dt="0"/>
  <p:extLst>
    <p:ext uri="{DCECCB84-F9BA-43D5-87BE-67443E8EF086}">
      <p15:sldGuideLst xmlns:p15="http://schemas.microsoft.com/office/powerpoint/2012/main">
        <p15:guide id="8" orient="horz" pos="2160" userDrawn="1">
          <p15:clr>
            <a:srgbClr val="FFFFFF"/>
          </p15:clr>
        </p15:guide>
        <p15:guide id="9" pos="413" userDrawn="1">
          <p15:clr>
            <a:srgbClr val="FFFFFF"/>
          </p15:clr>
        </p15:guide>
        <p15:guide id="10" pos="3168" userDrawn="1">
          <p15:clr>
            <a:srgbClr val="FFFFFF"/>
          </p15:clr>
        </p15:guide>
        <p15:guide id="11" orient="horz" pos="1572" userDrawn="1">
          <p15:clr>
            <a:srgbClr val="FFFFFF"/>
          </p15:clr>
        </p15:guide>
        <p15:guide id="12" orient="horz" pos="2258" userDrawn="1">
          <p15:clr>
            <a:srgbClr val="FFFFFF"/>
          </p15:clr>
        </p15:guide>
        <p15:guide id="13" orient="horz" pos="2454" userDrawn="1">
          <p15:clr>
            <a:srgbClr val="FFFFFF"/>
          </p15:clr>
        </p15:guide>
        <p15:guide id="14" orient="horz" pos="2650" userDrawn="1">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0925010"/>
      </p:ext>
    </p:extLst>
  </p:cSld>
  <p:clrMapOvr>
    <a:masterClrMapping/>
  </p:clrMapOvr>
  <p:hf sldNum="0" hdr="0" ftr="0" dt="0"/>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6929380"/>
      </p:ext>
    </p:extLst>
  </p:cSld>
  <p:clrMapOvr>
    <a:masterClrMapping/>
  </p:clrMapOvr>
  <p:hf sldNum="0" hdr="0" ftr="0" dt="0"/>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4027698206"/>
      </p:ext>
    </p:extLst>
  </p:cSld>
  <p:clrMapOvr>
    <a:masterClrMapping/>
  </p:clrMapOvr>
  <p:hf sldNum="0" hdr="0" ftr="0" dt="0"/>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88406785"/>
      </p:ext>
    </p:extLst>
  </p:cSld>
  <p:clrMapOvr>
    <a:masterClrMapping/>
  </p:clrMapOvr>
  <p:hf sldNum="0" hdr="0" ftr="0" dt="0"/>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862339747"/>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9" orient="horz" pos="202" userDrawn="1">
          <p15:clr>
            <a:srgbClr val="FFFFFF"/>
          </p15:clr>
        </p15:guide>
        <p15:guide id="10" orient="horz" pos="495" userDrawn="1">
          <p15:clr>
            <a:srgbClr val="FFFFFF"/>
          </p15:clr>
        </p15:guide>
        <p15:guide id="11" orient="horz" pos="887" userDrawn="1">
          <p15:clr>
            <a:srgbClr val="FFFFFF"/>
          </p15:clr>
        </p15:guide>
        <p15:guide id="12" orient="horz" pos="3923" userDrawn="1">
          <p15:clr>
            <a:srgbClr val="FFFFFF"/>
          </p15:clr>
        </p15:guide>
        <p15:guide id="13" pos="413" userDrawn="1">
          <p15:clr>
            <a:srgbClr val="FFFFFF"/>
          </p15:clr>
        </p15:guide>
        <p15:guide id="14" pos="7267" userDrawn="1">
          <p15:clr>
            <a:srgbClr val="FFFFF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dirty="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46842594"/>
      </p:ext>
    </p:extLst>
  </p:cSld>
  <p:clrMapOvr>
    <a:masterClrMapping/>
  </p:clrMapOvr>
  <p:hf sldNum="0" hdr="0" ftr="0" dt="0"/>
  <p:extLst>
    <p:ext uri="{DCECCB84-F9BA-43D5-87BE-67443E8EF086}">
      <p15:sldGuideLst xmlns:p15="http://schemas.microsoft.com/office/powerpoint/2012/main">
        <p15:guide id="9" orient="horz" pos="2160" userDrawn="1">
          <p15:clr>
            <a:srgbClr val="547EBF"/>
          </p15:clr>
        </p15:guide>
        <p15:guide id="10" orient="horz" pos="1572" userDrawn="1">
          <p15:clr>
            <a:srgbClr val="547EBF"/>
          </p15:clr>
        </p15:guide>
        <p15:guide id="11" orient="horz" pos="2258" userDrawn="1">
          <p15:clr>
            <a:srgbClr val="547EBF"/>
          </p15:clr>
        </p15:guide>
        <p15:guide id="12" orient="horz" pos="2454" userDrawn="1">
          <p15:clr>
            <a:srgbClr val="547EBF"/>
          </p15:clr>
        </p15:guide>
        <p15:guide id="13" orient="horz" pos="2650" userDrawn="1">
          <p15:clr>
            <a:srgbClr val="547EBF"/>
          </p15:clr>
        </p15:guide>
        <p15:guide id="14" pos="3155" userDrawn="1">
          <p15:clr>
            <a:srgbClr val="547EBF"/>
          </p15:clr>
        </p15:guide>
        <p15:guide id="15" pos="413" userDrawn="1">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dirty="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dirty="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857462620"/>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dirty="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25985641"/>
      </p:ext>
    </p:extLst>
  </p:cSld>
  <p:clrMapOvr>
    <a:masterClrMapping/>
  </p:clrMapOvr>
  <p:hf sldNum="0" hdr="0" ftr="0" dt="0"/>
  <p:extLst>
    <p:ext uri="{DCECCB84-F9BA-43D5-87BE-67443E8EF086}">
      <p15:sldGuideLst xmlns:p15="http://schemas.microsoft.com/office/powerpoint/2012/main">
        <p15:guide id="9" orient="horz" pos="2160" userDrawn="1">
          <p15:clr>
            <a:srgbClr val="A4A3A4"/>
          </p15:clr>
        </p15:guide>
        <p15:guide id="10" orient="horz" pos="2258" userDrawn="1">
          <p15:clr>
            <a:srgbClr val="547EBF"/>
          </p15:clr>
        </p15:guide>
        <p15:guide id="11" orient="horz" pos="1866" userDrawn="1">
          <p15:clr>
            <a:srgbClr val="547EBF"/>
          </p15:clr>
        </p15:guide>
        <p15:guide id="12" orient="horz" pos="2650" userDrawn="1">
          <p15:clr>
            <a:srgbClr val="547EBF"/>
          </p15:clr>
        </p15:guide>
        <p15:guide id="13" orient="horz" pos="2454" userDrawn="1">
          <p15:clr>
            <a:srgbClr val="547EBF"/>
          </p15:clr>
        </p15:guide>
        <p15:guide id="14" pos="413" userDrawn="1">
          <p15:clr>
            <a:srgbClr val="547EBF"/>
          </p15:clr>
        </p15:guide>
        <p15:guide id="15" pos="6092" userDrawn="1">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dirty="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188827746"/>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990326054"/>
      </p:ext>
    </p:extLst>
  </p:cSld>
  <p:clrMapOvr>
    <a:masterClrMapping/>
  </p:clrMapOvr>
  <p:hf sldNum="0" hdr="0" ftr="0" dt="0"/>
  <p:extLst>
    <p:ext uri="{DCECCB84-F9BA-43D5-87BE-67443E8EF086}">
      <p15:sldGuideLst xmlns:p15="http://schemas.microsoft.com/office/powerpoint/2012/main">
        <p15:guide id="1" orient="horz" pos="880" userDrawn="1">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userDrawn="1">
          <p15:clr>
            <a:srgbClr val="547EBF"/>
          </p15:clr>
        </p15:guide>
        <p15:guide id="7" pos="7267">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4.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userDrawn="1">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userDrawn="1">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44402230"/>
      </p:ext>
    </p:extLst>
  </p:cSld>
  <p:clrMap bg1="lt1" tx1="dk1" bg2="lt2" tx2="dk2" accent1="accent1" accent2="accent2" accent3="accent3" accent4="accent4" accent5="accent5" accent6="accent6" hlink="hlink" folHlink="folHlink"/>
  <p:sldLayoutIdLst>
    <p:sldLayoutId id="2147483743" r:id="rId1"/>
    <p:sldLayoutId id="2147483746" r:id="rId2"/>
    <p:sldLayoutId id="2147483744" r:id="rId3"/>
    <p:sldLayoutId id="2147483707" r:id="rId4"/>
    <p:sldLayoutId id="2147483708" r:id="rId5"/>
    <p:sldLayoutId id="2147483709" r:id="rId6"/>
    <p:sldLayoutId id="2147483710" r:id="rId7"/>
    <p:sldLayoutId id="2147483740" r:id="rId8"/>
    <p:sldLayoutId id="2147483711" r:id="rId9"/>
    <p:sldLayoutId id="2147483735" r:id="rId10"/>
    <p:sldLayoutId id="2147483741" r:id="rId11"/>
    <p:sldLayoutId id="2147483712" r:id="rId12"/>
    <p:sldLayoutId id="2147483742" r:id="rId13"/>
    <p:sldLayoutId id="2147483713" r:id="rId14"/>
    <p:sldLayoutId id="2147483714" r:id="rId15"/>
    <p:sldLayoutId id="2147483739" r:id="rId16"/>
    <p:sldLayoutId id="2147483738" r:id="rId17"/>
    <p:sldLayoutId id="2147483716" r:id="rId18"/>
    <p:sldLayoutId id="2147483747" r:id="rId19"/>
    <p:sldLayoutId id="2147483717" r:id="rId20"/>
    <p:sldLayoutId id="2147483745" r:id="rId21"/>
    <p:sldLayoutId id="2147483748" r:id="rId22"/>
    <p:sldLayoutId id="2147483718" r:id="rId23"/>
    <p:sldLayoutId id="2147483719" r:id="rId24"/>
    <p:sldLayoutId id="2147483720" r:id="rId25"/>
    <p:sldLayoutId id="2147483721" r:id="rId26"/>
    <p:sldLayoutId id="2147483722" r:id="rId27"/>
    <p:sldLayoutId id="2147483749" r:id="rId28"/>
    <p:sldLayoutId id="2147483723" r:id="rId29"/>
    <p:sldLayoutId id="2147483750" r:id="rId30"/>
    <p:sldLayoutId id="2147483724" r:id="rId31"/>
    <p:sldLayoutId id="2147483751" r:id="rId32"/>
    <p:sldLayoutId id="2147483736" r:id="rId33"/>
    <p:sldLayoutId id="2147483752" r:id="rId34"/>
    <p:sldLayoutId id="2147483726" r:id="rId35"/>
    <p:sldLayoutId id="2147483737" r:id="rId36"/>
    <p:sldLayoutId id="2147483727" r:id="rId37"/>
    <p:sldLayoutId id="2147483728" r:id="rId38"/>
    <p:sldLayoutId id="2147483753" r:id="rId39"/>
    <p:sldLayoutId id="2147483729" r:id="rId40"/>
    <p:sldLayoutId id="2147483730" r:id="rId41"/>
    <p:sldLayoutId id="2147483731" r:id="rId42"/>
    <p:sldLayoutId id="2147483732" r:id="rId43"/>
    <p:sldLayoutId id="2147483733" r:id="rId44"/>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userDrawn="1">
          <p15:clr>
            <a:srgbClr val="A4A3A4"/>
          </p15:clr>
        </p15:guide>
        <p15:guide id="2" pos="192" userDrawn="1">
          <p15:clr>
            <a:srgbClr val="A4A3A4"/>
          </p15:clr>
        </p15:guide>
        <p15:guide id="3" orient="horz" pos="384" userDrawn="1">
          <p15:clr>
            <a:srgbClr val="F26B43"/>
          </p15:clr>
        </p15:guide>
        <p15:guide id="5" orient="horz" pos="4128" userDrawn="1">
          <p15:clr>
            <a:srgbClr val="A4A3A4"/>
          </p15:clr>
        </p15:guide>
        <p15:guide id="6" orient="horz" pos="3936" userDrawn="1">
          <p15:clr>
            <a:srgbClr val="F26B43"/>
          </p15:clr>
        </p15:guide>
        <p15:guide id="7" pos="7296" userDrawn="1">
          <p15:clr>
            <a:srgbClr val="F26B43"/>
          </p15:clr>
        </p15:guide>
        <p15:guide id="8" pos="7488" userDrawn="1">
          <p15:clr>
            <a:srgbClr val="A4A3A4"/>
          </p15:clr>
        </p15:guide>
        <p15:guide id="9" pos="38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8" Type="http://schemas.openxmlformats.org/officeDocument/2006/relationships/diagramData" Target="../diagrams/data7.xml"/><Relationship Id="rId3" Type="http://schemas.openxmlformats.org/officeDocument/2006/relationships/diagramData" Target="../diagrams/data6.xml"/><Relationship Id="rId7" Type="http://schemas.microsoft.com/office/2007/relationships/diagramDrawing" Target="../diagrams/drawing6.xml"/><Relationship Id="rId12" Type="http://schemas.microsoft.com/office/2007/relationships/diagramDrawing" Target="../diagrams/drawing7.xml"/><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diagramColors" Target="../diagrams/colors6.xml"/><Relationship Id="rId11" Type="http://schemas.openxmlformats.org/officeDocument/2006/relationships/diagramColors" Target="../diagrams/colors7.xml"/><Relationship Id="rId5" Type="http://schemas.openxmlformats.org/officeDocument/2006/relationships/diagramQuickStyle" Target="../diagrams/quickStyle6.xml"/><Relationship Id="rId10" Type="http://schemas.openxmlformats.org/officeDocument/2006/relationships/diagramQuickStyle" Target="../diagrams/quickStyle7.xml"/><Relationship Id="rId4" Type="http://schemas.openxmlformats.org/officeDocument/2006/relationships/diagramLayout" Target="../diagrams/layout6.xml"/><Relationship Id="rId9" Type="http://schemas.openxmlformats.org/officeDocument/2006/relationships/diagramLayout" Target="../diagrams/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0.xml"/><Relationship Id="rId1" Type="http://schemas.openxmlformats.org/officeDocument/2006/relationships/tags" Target="../tags/tag7.xml"/><Relationship Id="rId4" Type="http://schemas.openxmlformats.org/officeDocument/2006/relationships/image" Target="../media/image9.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0.png"/><Relationship Id="rId4" Type="http://schemas.openxmlformats.org/officeDocument/2006/relationships/notesSlide" Target="../notesSlides/notesSlide9.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1.jfif"/><Relationship Id="rId4" Type="http://schemas.openxmlformats.org/officeDocument/2006/relationships/notesSlide" Target="../notesSlides/notesSlide10.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1.xml"/><Relationship Id="rId1" Type="http://schemas.openxmlformats.org/officeDocument/2006/relationships/slideLayout" Target="../slideLayouts/slideLayout14.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3" Type="http://schemas.openxmlformats.org/officeDocument/2006/relationships/customXml" Target="../../customXml/item17.xml"/><Relationship Id="rId7" Type="http://schemas.openxmlformats.org/officeDocument/2006/relationships/image" Target="../media/image4.png"/><Relationship Id="rId2" Type="http://schemas.openxmlformats.org/officeDocument/2006/relationships/customXml" Target="../../customXml/item16.xml"/><Relationship Id="rId1" Type="http://schemas.openxmlformats.org/officeDocument/2006/relationships/tags" Target="../tags/tag12.xml"/><Relationship Id="rId6" Type="http://schemas.openxmlformats.org/officeDocument/2006/relationships/notesSlide" Target="../notesSlides/notesSlide12.xml"/><Relationship Id="rId5" Type="http://schemas.openxmlformats.org/officeDocument/2006/relationships/slideLayout" Target="../slideLayouts/slideLayout9.xml"/><Relationship Id="rId4" Type="http://schemas.openxmlformats.org/officeDocument/2006/relationships/tags" Target="../tags/tag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14.xml"/><Relationship Id="rId1" Type="http://schemas.openxmlformats.org/officeDocument/2006/relationships/slideLayout" Target="../slideLayouts/slideLayout9.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0.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5.xml"/><Relationship Id="rId1" Type="http://schemas.openxmlformats.org/officeDocument/2006/relationships/slideLayout" Target="../slideLayouts/slideLayout9.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21.xml.rels><?xml version="1.0" encoding="UTF-8" standalone="yes"?>
<Relationships xmlns="http://schemas.openxmlformats.org/package/2006/relationships"><Relationship Id="rId8" Type="http://schemas.microsoft.com/office/2007/relationships/diagramDrawing" Target="../diagrams/drawing10.xml"/><Relationship Id="rId3" Type="http://schemas.openxmlformats.org/officeDocument/2006/relationships/image" Target="../media/image19.png"/><Relationship Id="rId7" Type="http://schemas.openxmlformats.org/officeDocument/2006/relationships/diagramColors" Target="../diagrams/colors10.xml"/><Relationship Id="rId2" Type="http://schemas.openxmlformats.org/officeDocument/2006/relationships/notesSlide" Target="../notesSlides/notesSlide16.xml"/><Relationship Id="rId1" Type="http://schemas.openxmlformats.org/officeDocument/2006/relationships/slideLayout" Target="../slideLayouts/slideLayout9.xml"/><Relationship Id="rId6" Type="http://schemas.openxmlformats.org/officeDocument/2006/relationships/diagramQuickStyle" Target="../diagrams/quickStyle10.xml"/><Relationship Id="rId5" Type="http://schemas.openxmlformats.org/officeDocument/2006/relationships/diagramLayout" Target="../diagrams/layout10.xml"/><Relationship Id="rId4" Type="http://schemas.openxmlformats.org/officeDocument/2006/relationships/diagramData" Target="../diagrams/data10.xml"/></Relationships>
</file>

<file path=ppt/slides/_rels/slide2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8.xml"/><Relationship Id="rId1" Type="http://schemas.openxmlformats.org/officeDocument/2006/relationships/slideLayout" Target="../slideLayouts/slideLayout9.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19.xml"/><Relationship Id="rId1" Type="http://schemas.openxmlformats.org/officeDocument/2006/relationships/slideLayout" Target="../slideLayouts/slideLayout10.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9.bin"/><Relationship Id="rId4" Type="http://schemas.openxmlformats.org/officeDocument/2006/relationships/notesSlide" Target="../notesSlides/notesSlide20.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0.png"/><Relationship Id="rId4" Type="http://schemas.openxmlformats.org/officeDocument/2006/relationships/notesSlide" Target="../notesSlides/notesSlide21.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1.jfif"/><Relationship Id="rId4" Type="http://schemas.openxmlformats.org/officeDocument/2006/relationships/notesSlide" Target="../notesSlides/notesSlide22.xm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23.xml"/><Relationship Id="rId1" Type="http://schemas.openxmlformats.org/officeDocument/2006/relationships/slideLayout" Target="../slideLayouts/slideLayout14.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0.xml.rels><?xml version="1.0" encoding="UTF-8" standalone="yes"?>
<Relationships xmlns="http://schemas.openxmlformats.org/package/2006/relationships"><Relationship Id="rId3" Type="http://schemas.openxmlformats.org/officeDocument/2006/relationships/customXml" Target="../../customXml/item15.xml"/><Relationship Id="rId7" Type="http://schemas.openxmlformats.org/officeDocument/2006/relationships/image" Target="../media/image4.png"/><Relationship Id="rId2" Type="http://schemas.openxmlformats.org/officeDocument/2006/relationships/customXml" Target="../../customXml/item13.xml"/><Relationship Id="rId1" Type="http://schemas.openxmlformats.org/officeDocument/2006/relationships/tags" Target="../tags/tag20.xml"/><Relationship Id="rId6" Type="http://schemas.openxmlformats.org/officeDocument/2006/relationships/notesSlide" Target="../notesSlides/notesSlide24.xml"/><Relationship Id="rId5" Type="http://schemas.openxmlformats.org/officeDocument/2006/relationships/slideLayout" Target="../slideLayouts/slideLayout9.xml"/><Relationship Id="rId4" Type="http://schemas.openxmlformats.org/officeDocument/2006/relationships/tags" Target="../tags/tag21.xml"/></Relationships>
</file>

<file path=ppt/slides/_rels/slide31.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25.xml"/><Relationship Id="rId1" Type="http://schemas.openxmlformats.org/officeDocument/2006/relationships/slideLayout" Target="../slideLayouts/slideLayout9.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2.svg"/></Relationships>
</file>

<file path=ppt/slides/_rels/slide32.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26.xml"/><Relationship Id="rId1" Type="http://schemas.openxmlformats.org/officeDocument/2006/relationships/slideLayout" Target="../slideLayouts/slideLayout8.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33.xml.rels><?xml version="1.0" encoding="UTF-8" standalone="yes"?>
<Relationships xmlns="http://schemas.openxmlformats.org/package/2006/relationships"><Relationship Id="rId3" Type="http://schemas.openxmlformats.org/officeDocument/2006/relationships/diagramData" Target="../diagrams/data15.xml"/><Relationship Id="rId7" Type="http://schemas.microsoft.com/office/2007/relationships/diagramDrawing" Target="../diagrams/drawing15.xml"/><Relationship Id="rId2" Type="http://schemas.openxmlformats.org/officeDocument/2006/relationships/notesSlide" Target="../notesSlides/notesSlide27.xml"/><Relationship Id="rId1" Type="http://schemas.openxmlformats.org/officeDocument/2006/relationships/slideLayout" Target="../slideLayouts/slideLayout8.xml"/><Relationship Id="rId6" Type="http://schemas.openxmlformats.org/officeDocument/2006/relationships/diagramColors" Target="../diagrams/colors15.xml"/><Relationship Id="rId5" Type="http://schemas.openxmlformats.org/officeDocument/2006/relationships/diagramQuickStyle" Target="../diagrams/quickStyle15.xml"/><Relationship Id="rId4" Type="http://schemas.openxmlformats.org/officeDocument/2006/relationships/diagramLayout" Target="../diagrams/layout1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29.xml"/><Relationship Id="rId1" Type="http://schemas.openxmlformats.org/officeDocument/2006/relationships/slideLayout" Target="../slideLayouts/slideLayout12.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0.png"/><Relationship Id="rId4" Type="http://schemas.openxmlformats.org/officeDocument/2006/relationships/notesSlide" Target="../notesSlides/notesSlide30.xml"/></Relationships>
</file>

<file path=ppt/slides/_rels/slide3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1.xml"/><Relationship Id="rId1" Type="http://schemas.openxmlformats.org/officeDocument/2006/relationships/slideLayout" Target="../slideLayouts/slideLayout8.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30.svg"/></Relationships>
</file>

<file path=ppt/slides/_rels/slide38.xml.rels><?xml version="1.0" encoding="UTF-8" standalone="yes"?>
<Relationships xmlns="http://schemas.openxmlformats.org/package/2006/relationships"><Relationship Id="rId3" Type="http://schemas.openxmlformats.org/officeDocument/2006/relationships/diagramData" Target="../diagrams/data17.xml"/><Relationship Id="rId7" Type="http://schemas.microsoft.com/office/2007/relationships/diagramDrawing" Target="../diagrams/drawing17.xml"/><Relationship Id="rId2" Type="http://schemas.openxmlformats.org/officeDocument/2006/relationships/notesSlide" Target="../notesSlides/notesSlide32.xml"/><Relationship Id="rId1" Type="http://schemas.openxmlformats.org/officeDocument/2006/relationships/slideLayout" Target="../slideLayouts/slideLayout8.xml"/><Relationship Id="rId6" Type="http://schemas.openxmlformats.org/officeDocument/2006/relationships/diagramColors" Target="../diagrams/colors17.xml"/><Relationship Id="rId5" Type="http://schemas.openxmlformats.org/officeDocument/2006/relationships/diagramQuickStyle" Target="../diagrams/quickStyle17.xml"/><Relationship Id="rId4" Type="http://schemas.openxmlformats.org/officeDocument/2006/relationships/diagramLayout" Target="../diagrams/layout17.xml"/></Relationships>
</file>

<file path=ppt/slides/_rels/slide39.xml.rels><?xml version="1.0" encoding="UTF-8" standalone="yes"?>
<Relationships xmlns="http://schemas.openxmlformats.org/package/2006/relationships"><Relationship Id="rId3" Type="http://schemas.openxmlformats.org/officeDocument/2006/relationships/diagramData" Target="../diagrams/data18.xml"/><Relationship Id="rId7" Type="http://schemas.microsoft.com/office/2007/relationships/diagramDrawing" Target="../diagrams/drawing18.xml"/><Relationship Id="rId2" Type="http://schemas.openxmlformats.org/officeDocument/2006/relationships/notesSlide" Target="../notesSlides/notesSlide33.xml"/><Relationship Id="rId1" Type="http://schemas.openxmlformats.org/officeDocument/2006/relationships/slideLayout" Target="../slideLayouts/slideLayout8.xml"/><Relationship Id="rId6" Type="http://schemas.openxmlformats.org/officeDocument/2006/relationships/diagramColors" Target="../diagrams/colors18.xml"/><Relationship Id="rId5" Type="http://schemas.openxmlformats.org/officeDocument/2006/relationships/diagramQuickStyle" Target="../diagrams/quickStyle18.xml"/><Relationship Id="rId4" Type="http://schemas.openxmlformats.org/officeDocument/2006/relationships/diagramLayout" Target="../diagrams/layout1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3" Type="http://schemas.openxmlformats.org/officeDocument/2006/relationships/diagramData" Target="../diagrams/data19.xml"/><Relationship Id="rId7" Type="http://schemas.microsoft.com/office/2007/relationships/diagramDrawing" Target="../diagrams/drawing19.xml"/><Relationship Id="rId2" Type="http://schemas.openxmlformats.org/officeDocument/2006/relationships/notesSlide" Target="../notesSlides/notesSlide34.xml"/><Relationship Id="rId1" Type="http://schemas.openxmlformats.org/officeDocument/2006/relationships/slideLayout" Target="../slideLayouts/slideLayout8.xml"/><Relationship Id="rId6" Type="http://schemas.openxmlformats.org/officeDocument/2006/relationships/diagramColors" Target="../diagrams/colors19.xml"/><Relationship Id="rId5" Type="http://schemas.openxmlformats.org/officeDocument/2006/relationships/diagramQuickStyle" Target="../diagrams/quickStyle19.xml"/><Relationship Id="rId4" Type="http://schemas.openxmlformats.org/officeDocument/2006/relationships/diagramLayout" Target="../diagrams/layout19.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20.xml"/><Relationship Id="rId1" Type="http://schemas.openxmlformats.org/officeDocument/2006/relationships/tags" Target="../tags/tag24.xml"/><Relationship Id="rId4" Type="http://schemas.openxmlformats.org/officeDocument/2006/relationships/image" Target="../media/image9.bin"/></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1.jfif"/><Relationship Id="rId4" Type="http://schemas.openxmlformats.org/officeDocument/2006/relationships/notesSlide" Target="../notesSlides/notesSlide37.xml"/></Relationships>
</file>

<file path=ppt/slides/_rels/slide44.xml.rels><?xml version="1.0" encoding="UTF-8" standalone="yes"?>
<Relationships xmlns="http://schemas.openxmlformats.org/package/2006/relationships"><Relationship Id="rId3" Type="http://schemas.openxmlformats.org/officeDocument/2006/relationships/diagramData" Target="../diagrams/data20.xml"/><Relationship Id="rId7" Type="http://schemas.microsoft.com/office/2007/relationships/diagramDrawing" Target="../diagrams/drawing20.xml"/><Relationship Id="rId2" Type="http://schemas.openxmlformats.org/officeDocument/2006/relationships/notesSlide" Target="../notesSlides/notesSlide38.xml"/><Relationship Id="rId1" Type="http://schemas.openxmlformats.org/officeDocument/2006/relationships/slideLayout" Target="../slideLayouts/slideLayout14.xml"/><Relationship Id="rId6" Type="http://schemas.openxmlformats.org/officeDocument/2006/relationships/diagramColors" Target="../diagrams/colors20.xml"/><Relationship Id="rId5" Type="http://schemas.openxmlformats.org/officeDocument/2006/relationships/diagramQuickStyle" Target="../diagrams/quickStyle20.xml"/><Relationship Id="rId4" Type="http://schemas.openxmlformats.org/officeDocument/2006/relationships/diagramLayout" Target="../diagrams/layout20.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6.xml"/></Relationships>
</file>

<file path=ppt/slides/_rels/slide46.xml.rels><?xml version="1.0" encoding="UTF-8" standalone="yes"?>
<Relationships xmlns="http://schemas.openxmlformats.org/package/2006/relationships"><Relationship Id="rId3" Type="http://schemas.openxmlformats.org/officeDocument/2006/relationships/customXml" Target="../../customXml/item1.xml"/><Relationship Id="rId7" Type="http://schemas.openxmlformats.org/officeDocument/2006/relationships/image" Target="../media/image4.png"/><Relationship Id="rId2" Type="http://schemas.openxmlformats.org/officeDocument/2006/relationships/customXml" Target="../../customXml/item12.xml"/><Relationship Id="rId1" Type="http://schemas.openxmlformats.org/officeDocument/2006/relationships/tags" Target="../tags/tag27.xml"/><Relationship Id="rId6" Type="http://schemas.openxmlformats.org/officeDocument/2006/relationships/notesSlide" Target="../notesSlides/notesSlide40.xml"/><Relationship Id="rId5" Type="http://schemas.openxmlformats.org/officeDocument/2006/relationships/slideLayout" Target="../slideLayouts/slideLayout9.xml"/><Relationship Id="rId4" Type="http://schemas.openxmlformats.org/officeDocument/2006/relationships/tags" Target="../tags/tag28.xml"/></Relationships>
</file>

<file path=ppt/slides/_rels/slide47.xml.rels><?xml version="1.0" encoding="UTF-8" standalone="yes"?>
<Relationships xmlns="http://schemas.openxmlformats.org/package/2006/relationships"><Relationship Id="rId3" Type="http://schemas.openxmlformats.org/officeDocument/2006/relationships/diagramData" Target="../diagrams/data21.xml"/><Relationship Id="rId7" Type="http://schemas.microsoft.com/office/2007/relationships/diagramDrawing" Target="../diagrams/drawing21.xml"/><Relationship Id="rId2" Type="http://schemas.openxmlformats.org/officeDocument/2006/relationships/notesSlide" Target="../notesSlides/notesSlide41.xml"/><Relationship Id="rId1" Type="http://schemas.openxmlformats.org/officeDocument/2006/relationships/slideLayout" Target="../slideLayouts/slideLayout8.xml"/><Relationship Id="rId6" Type="http://schemas.openxmlformats.org/officeDocument/2006/relationships/diagramColors" Target="../diagrams/colors21.xml"/><Relationship Id="rId5" Type="http://schemas.openxmlformats.org/officeDocument/2006/relationships/diagramQuickStyle" Target="../diagrams/quickStyle21.xml"/><Relationship Id="rId4" Type="http://schemas.openxmlformats.org/officeDocument/2006/relationships/diagramLayout" Target="../diagrams/layout21.xml"/></Relationships>
</file>

<file path=ppt/slides/_rels/slide48.xml.rels><?xml version="1.0" encoding="UTF-8" standalone="yes"?>
<Relationships xmlns="http://schemas.openxmlformats.org/package/2006/relationships"><Relationship Id="rId8" Type="http://schemas.microsoft.com/office/2007/relationships/diagramDrawing" Target="../diagrams/drawing22.xml"/><Relationship Id="rId3" Type="http://schemas.openxmlformats.org/officeDocument/2006/relationships/image" Target="../media/image41.png"/><Relationship Id="rId7" Type="http://schemas.openxmlformats.org/officeDocument/2006/relationships/diagramColors" Target="../diagrams/colors22.xml"/><Relationship Id="rId2" Type="http://schemas.openxmlformats.org/officeDocument/2006/relationships/notesSlide" Target="../notesSlides/notesSlide42.xml"/><Relationship Id="rId1" Type="http://schemas.openxmlformats.org/officeDocument/2006/relationships/slideLayout" Target="../slideLayouts/slideLayout8.xml"/><Relationship Id="rId6" Type="http://schemas.openxmlformats.org/officeDocument/2006/relationships/diagramQuickStyle" Target="../diagrams/quickStyle22.xml"/><Relationship Id="rId5" Type="http://schemas.openxmlformats.org/officeDocument/2006/relationships/diagramLayout" Target="../diagrams/layout22.xml"/><Relationship Id="rId4" Type="http://schemas.openxmlformats.org/officeDocument/2006/relationships/diagramData" Target="../diagrams/data22.xml"/></Relationships>
</file>

<file path=ppt/slides/_rels/slide49.xml.rels><?xml version="1.0" encoding="UTF-8" standalone="yes"?>
<Relationships xmlns="http://schemas.openxmlformats.org/package/2006/relationships"><Relationship Id="rId3" Type="http://schemas.openxmlformats.org/officeDocument/2006/relationships/diagramData" Target="../diagrams/data23.xml"/><Relationship Id="rId7" Type="http://schemas.microsoft.com/office/2007/relationships/diagramDrawing" Target="../diagrams/drawing23.xml"/><Relationship Id="rId2" Type="http://schemas.openxmlformats.org/officeDocument/2006/relationships/notesSlide" Target="../notesSlides/notesSlide43.xml"/><Relationship Id="rId1" Type="http://schemas.openxmlformats.org/officeDocument/2006/relationships/slideLayout" Target="../slideLayouts/slideLayout8.xml"/><Relationship Id="rId6" Type="http://schemas.openxmlformats.org/officeDocument/2006/relationships/diagramColors" Target="../diagrams/colors23.xml"/><Relationship Id="rId5" Type="http://schemas.openxmlformats.org/officeDocument/2006/relationships/diagramQuickStyle" Target="../diagrams/quickStyle23.xml"/><Relationship Id="rId4" Type="http://schemas.openxmlformats.org/officeDocument/2006/relationships/diagramLayout" Target="../diagrams/layout23.xml"/></Relationships>
</file>

<file path=ppt/slides/_rels/slide5.xml.rels><?xml version="1.0" encoding="UTF-8" standalone="yes"?>
<Relationships xmlns="http://schemas.openxmlformats.org/package/2006/relationships"><Relationship Id="rId3" Type="http://schemas.openxmlformats.org/officeDocument/2006/relationships/customXml" Target="../../customXml/item6.xml"/><Relationship Id="rId7" Type="http://schemas.openxmlformats.org/officeDocument/2006/relationships/image" Target="../media/image4.png"/><Relationship Id="rId2" Type="http://schemas.openxmlformats.org/officeDocument/2006/relationships/customXml" Target="../../customXml/item14.xml"/><Relationship Id="rId1" Type="http://schemas.openxmlformats.org/officeDocument/2006/relationships/tags" Target="../tags/tag5.xml"/><Relationship Id="rId6" Type="http://schemas.openxmlformats.org/officeDocument/2006/relationships/notesSlide" Target="../notesSlides/notesSlide1.xml"/><Relationship Id="rId5" Type="http://schemas.openxmlformats.org/officeDocument/2006/relationships/slideLayout" Target="../slideLayouts/slideLayout9.xml"/><Relationship Id="rId4" Type="http://schemas.openxmlformats.org/officeDocument/2006/relationships/tags" Target="../tags/tag6.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20.xml"/><Relationship Id="rId1" Type="http://schemas.openxmlformats.org/officeDocument/2006/relationships/tags" Target="../tags/tag29.xml"/><Relationship Id="rId4" Type="http://schemas.openxmlformats.org/officeDocument/2006/relationships/image" Target="../media/image9.bin"/></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11.jfif"/><Relationship Id="rId4" Type="http://schemas.openxmlformats.org/officeDocument/2006/relationships/notesSlide" Target="../notesSlides/notesSlide45.xml"/></Relationships>
</file>

<file path=ppt/slides/_rels/slide52.xml.rels><?xml version="1.0" encoding="UTF-8" standalone="yes"?>
<Relationships xmlns="http://schemas.openxmlformats.org/package/2006/relationships"><Relationship Id="rId3" Type="http://schemas.openxmlformats.org/officeDocument/2006/relationships/diagramData" Target="../diagrams/data24.xml"/><Relationship Id="rId7" Type="http://schemas.microsoft.com/office/2007/relationships/diagramDrawing" Target="../diagrams/drawing24.xml"/><Relationship Id="rId2" Type="http://schemas.openxmlformats.org/officeDocument/2006/relationships/notesSlide" Target="../notesSlides/notesSlide46.xml"/><Relationship Id="rId1" Type="http://schemas.openxmlformats.org/officeDocument/2006/relationships/slideLayout" Target="../slideLayouts/slideLayout14.xml"/><Relationship Id="rId6" Type="http://schemas.openxmlformats.org/officeDocument/2006/relationships/diagramColors" Target="../diagrams/colors24.xml"/><Relationship Id="rId5" Type="http://schemas.openxmlformats.org/officeDocument/2006/relationships/diagramQuickStyle" Target="../diagrams/quickStyle24.xml"/><Relationship Id="rId4" Type="http://schemas.openxmlformats.org/officeDocument/2006/relationships/diagramLayout" Target="../diagrams/layout24.xml"/></Relationships>
</file>

<file path=ppt/slides/_rels/slide53.xml.rels><?xml version="1.0" encoding="UTF-8" standalone="yes"?>
<Relationships xmlns="http://schemas.openxmlformats.org/package/2006/relationships"><Relationship Id="rId3" Type="http://schemas.openxmlformats.org/officeDocument/2006/relationships/diagramData" Target="../diagrams/data25.xml"/><Relationship Id="rId7" Type="http://schemas.microsoft.com/office/2007/relationships/diagramDrawing" Target="../diagrams/drawing25.xml"/><Relationship Id="rId2" Type="http://schemas.openxmlformats.org/officeDocument/2006/relationships/notesSlide" Target="../notesSlides/notesSlide47.xml"/><Relationship Id="rId1" Type="http://schemas.openxmlformats.org/officeDocument/2006/relationships/slideLayout" Target="../slideLayouts/slideLayout36.xml"/><Relationship Id="rId6" Type="http://schemas.openxmlformats.org/officeDocument/2006/relationships/diagramColors" Target="../diagrams/colors25.xml"/><Relationship Id="rId5" Type="http://schemas.openxmlformats.org/officeDocument/2006/relationships/diagramQuickStyle" Target="../diagrams/quickStyle25.xml"/><Relationship Id="rId4" Type="http://schemas.openxmlformats.org/officeDocument/2006/relationships/diagramLayout" Target="../diagrams/layout25.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6.png"/><Relationship Id="rId7" Type="http://schemas.openxmlformats.org/officeDocument/2006/relationships/diagramColors" Target="../diagrams/colors2.xml"/><Relationship Id="rId2" Type="http://schemas.openxmlformats.org/officeDocument/2006/relationships/notesSlide" Target="../notesSlides/notesSlide3.xml"/><Relationship Id="rId1" Type="http://schemas.openxmlformats.org/officeDocument/2006/relationships/slideLayout" Target="../slideLayouts/slideLayout9.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4.xml"/><Relationship Id="rId1" Type="http://schemas.openxmlformats.org/officeDocument/2006/relationships/slideLayout" Target="../slideLayouts/slideLayout9.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9.xml.rels><?xml version="1.0" encoding="UTF-8" standalone="yes"?>
<Relationships xmlns="http://schemas.openxmlformats.org/package/2006/relationships"><Relationship Id="rId8" Type="http://schemas.openxmlformats.org/officeDocument/2006/relationships/diagramData" Target="../diagrams/data5.xml"/><Relationship Id="rId3" Type="http://schemas.openxmlformats.org/officeDocument/2006/relationships/diagramData" Target="../diagrams/data4.xml"/><Relationship Id="rId7" Type="http://schemas.microsoft.com/office/2007/relationships/diagramDrawing" Target="../diagrams/drawing4.xml"/><Relationship Id="rId12" Type="http://schemas.microsoft.com/office/2007/relationships/diagramDrawing" Target="../diagrams/drawing5.xml"/><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openxmlformats.org/officeDocument/2006/relationships/diagramColors" Target="../diagrams/colors4.xml"/><Relationship Id="rId11" Type="http://schemas.openxmlformats.org/officeDocument/2006/relationships/diagramColors" Target="../diagrams/colors5.xml"/><Relationship Id="rId5" Type="http://schemas.openxmlformats.org/officeDocument/2006/relationships/diagramQuickStyle" Target="../diagrams/quickStyle4.xml"/><Relationship Id="rId10" Type="http://schemas.openxmlformats.org/officeDocument/2006/relationships/diagramQuickStyle" Target="../diagrams/quickStyle5.xml"/><Relationship Id="rId4" Type="http://schemas.openxmlformats.org/officeDocument/2006/relationships/diagramLayout" Target="../diagrams/layout4.xml"/><Relationship Id="rId9" Type="http://schemas.openxmlformats.org/officeDocument/2006/relationships/diagramLayout" Target="../diagrams/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85DF47-300F-4085-B774-DDE734B96F99}"/>
              </a:ext>
            </a:extLst>
          </p:cNvPr>
          <p:cNvSpPr>
            <a:spLocks noGrp="1"/>
          </p:cNvSpPr>
          <p:nvPr>
            <p:ph type="ctrTitle"/>
          </p:nvPr>
        </p:nvSpPr>
        <p:spPr/>
        <p:txBody>
          <a:bodyPr/>
          <a:lstStyle/>
          <a:p>
            <a:r>
              <a:rPr lang="en-US" dirty="0"/>
              <a:t>Azure SQL Database Administration</a:t>
            </a:r>
          </a:p>
        </p:txBody>
      </p:sp>
      <p:sp>
        <p:nvSpPr>
          <p:cNvPr id="5" name="Subtitle 4">
            <a:extLst>
              <a:ext uri="{FF2B5EF4-FFF2-40B4-BE49-F238E27FC236}">
                <a16:creationId xmlns:a16="http://schemas.microsoft.com/office/drawing/2014/main" id="{806AE5AE-CAF0-4BF4-872E-C97AF8874A6F}"/>
              </a:ext>
            </a:extLst>
          </p:cNvPr>
          <p:cNvSpPr>
            <a:spLocks noGrp="1"/>
          </p:cNvSpPr>
          <p:nvPr>
            <p:ph type="subTitle" idx="1"/>
          </p:nvPr>
        </p:nvSpPr>
        <p:spPr/>
        <p:txBody>
          <a:bodyPr>
            <a:normAutofit lnSpcReduction="10000"/>
          </a:bodyPr>
          <a:lstStyle/>
          <a:p>
            <a:r>
              <a:rPr lang="en-US" dirty="0"/>
              <a:t>Module 2</a:t>
            </a:r>
          </a:p>
        </p:txBody>
      </p:sp>
      <p:sp>
        <p:nvSpPr>
          <p:cNvPr id="6" name="Picture Placeholder 5">
            <a:extLst>
              <a:ext uri="{FF2B5EF4-FFF2-40B4-BE49-F238E27FC236}">
                <a16:creationId xmlns:a16="http://schemas.microsoft.com/office/drawing/2014/main" id="{0B24CF9C-EA03-4678-8221-3892B00F4889}"/>
              </a:ext>
            </a:extLst>
          </p:cNvPr>
          <p:cNvSpPr>
            <a:spLocks noGrp="1"/>
          </p:cNvSpPr>
          <p:nvPr>
            <p:ph type="pic" sz="quarter" idx="17"/>
          </p:nvPr>
        </p:nvSpPr>
        <p:spPr/>
      </p:sp>
      <p:grpSp>
        <p:nvGrpSpPr>
          <p:cNvPr id="7" name="Group 6" descr="Azure SQL Database">
            <a:extLst>
              <a:ext uri="{FF2B5EF4-FFF2-40B4-BE49-F238E27FC236}">
                <a16:creationId xmlns:a16="http://schemas.microsoft.com/office/drawing/2014/main" id="{5CCEECEC-D86C-4E66-801B-5AC85A28E5E7}"/>
              </a:ext>
            </a:extLst>
          </p:cNvPr>
          <p:cNvGrpSpPr/>
          <p:nvPr/>
        </p:nvGrpSpPr>
        <p:grpSpPr>
          <a:xfrm>
            <a:off x="8637150" y="2546372"/>
            <a:ext cx="727319" cy="990490"/>
            <a:chOff x="6538960" y="5922128"/>
            <a:chExt cx="174418" cy="231818"/>
          </a:xfrm>
        </p:grpSpPr>
        <p:sp>
          <p:nvSpPr>
            <p:cNvPr id="8" name="Freeform: Shape 7">
              <a:extLst>
                <a:ext uri="{FF2B5EF4-FFF2-40B4-BE49-F238E27FC236}">
                  <a16:creationId xmlns:a16="http://schemas.microsoft.com/office/drawing/2014/main" id="{D21D1A95-ABFB-4C63-AEF4-19DA1137C750}"/>
                </a:ext>
              </a:extLst>
            </p:cNvPr>
            <p:cNvSpPr/>
            <p:nvPr/>
          </p:nvSpPr>
          <p:spPr>
            <a:xfrm>
              <a:off x="6538960" y="5954027"/>
              <a:ext cx="87199" cy="199919"/>
            </a:xfrm>
            <a:custGeom>
              <a:avLst/>
              <a:gdLst>
                <a:gd name="connsiteX0" fmla="*/ 0 w 87199"/>
                <a:gd name="connsiteY0" fmla="*/ 0 h 199919"/>
                <a:gd name="connsiteX1" fmla="*/ 0 w 87199"/>
                <a:gd name="connsiteY1" fmla="*/ 168018 h 199919"/>
                <a:gd name="connsiteX2" fmla="*/ 87200 w 87199"/>
                <a:gd name="connsiteY2" fmla="*/ 199919 h 199919"/>
                <a:gd name="connsiteX3" fmla="*/ 87200 w 87199"/>
                <a:gd name="connsiteY3" fmla="*/ 0 h 199919"/>
                <a:gd name="connsiteX4" fmla="*/ 0 w 87199"/>
                <a:gd name="connsiteY4" fmla="*/ 0 h 199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99" h="199919">
                  <a:moveTo>
                    <a:pt x="0" y="0"/>
                  </a:moveTo>
                  <a:lnTo>
                    <a:pt x="0" y="168018"/>
                  </a:lnTo>
                  <a:cubicBezTo>
                    <a:pt x="0" y="185032"/>
                    <a:pt x="39346" y="199919"/>
                    <a:pt x="87200" y="199919"/>
                  </a:cubicBezTo>
                  <a:lnTo>
                    <a:pt x="87200" y="0"/>
                  </a:lnTo>
                  <a:lnTo>
                    <a:pt x="0" y="0"/>
                  </a:lnTo>
                  <a:close/>
                </a:path>
              </a:pathLst>
            </a:custGeom>
            <a:solidFill>
              <a:srgbClr val="3999C6"/>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F0C01EF6-B5F8-4CBE-864F-41FA43893075}"/>
                </a:ext>
              </a:extLst>
            </p:cNvPr>
            <p:cNvSpPr/>
            <p:nvPr/>
          </p:nvSpPr>
          <p:spPr>
            <a:xfrm>
              <a:off x="6625116" y="5954027"/>
              <a:ext cx="88262" cy="199919"/>
            </a:xfrm>
            <a:custGeom>
              <a:avLst/>
              <a:gdLst>
                <a:gd name="connsiteX0" fmla="*/ 0 w 88262"/>
                <a:gd name="connsiteY0" fmla="*/ 199919 h 199919"/>
                <a:gd name="connsiteX1" fmla="*/ 1063 w 88262"/>
                <a:gd name="connsiteY1" fmla="*/ 199919 h 199919"/>
                <a:gd name="connsiteX2" fmla="*/ 88262 w 88262"/>
                <a:gd name="connsiteY2" fmla="*/ 168018 h 199919"/>
                <a:gd name="connsiteX3" fmla="*/ 88262 w 88262"/>
                <a:gd name="connsiteY3" fmla="*/ 0 h 199919"/>
                <a:gd name="connsiteX4" fmla="*/ 0 w 88262"/>
                <a:gd name="connsiteY4" fmla="*/ 0 h 199919"/>
                <a:gd name="connsiteX5" fmla="*/ 0 w 88262"/>
                <a:gd name="connsiteY5" fmla="*/ 199919 h 199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262" h="199919">
                  <a:moveTo>
                    <a:pt x="0" y="199919"/>
                  </a:moveTo>
                  <a:lnTo>
                    <a:pt x="1063" y="199919"/>
                  </a:lnTo>
                  <a:cubicBezTo>
                    <a:pt x="48917" y="199919"/>
                    <a:pt x="88262" y="185032"/>
                    <a:pt x="88262" y="168018"/>
                  </a:cubicBezTo>
                  <a:lnTo>
                    <a:pt x="88262" y="0"/>
                  </a:lnTo>
                  <a:lnTo>
                    <a:pt x="0" y="0"/>
                  </a:lnTo>
                  <a:lnTo>
                    <a:pt x="0" y="199919"/>
                  </a:lnTo>
                  <a:close/>
                </a:path>
              </a:pathLst>
            </a:custGeom>
            <a:solidFill>
              <a:srgbClr val="5AB4D9"/>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4DBC0442-F18D-4BAA-86F9-8CD21A4616DF}"/>
                </a:ext>
              </a:extLst>
            </p:cNvPr>
            <p:cNvSpPr/>
            <p:nvPr/>
          </p:nvSpPr>
          <p:spPr>
            <a:xfrm>
              <a:off x="6538960" y="5922128"/>
              <a:ext cx="174398" cy="63804"/>
            </a:xfrm>
            <a:custGeom>
              <a:avLst/>
              <a:gdLst>
                <a:gd name="connsiteX0" fmla="*/ 174398 w 174398"/>
                <a:gd name="connsiteY0" fmla="*/ 31902 h 63804"/>
                <a:gd name="connsiteX1" fmla="*/ 87200 w 174398"/>
                <a:gd name="connsiteY1" fmla="*/ 63805 h 63804"/>
                <a:gd name="connsiteX2" fmla="*/ 0 w 174398"/>
                <a:gd name="connsiteY2" fmla="*/ 31902 h 63804"/>
                <a:gd name="connsiteX3" fmla="*/ 87200 w 174398"/>
                <a:gd name="connsiteY3" fmla="*/ 0 h 63804"/>
                <a:gd name="connsiteX4" fmla="*/ 174398 w 174398"/>
                <a:gd name="connsiteY4" fmla="*/ 31902 h 63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398" h="63804">
                  <a:moveTo>
                    <a:pt x="174398" y="31902"/>
                  </a:moveTo>
                  <a:cubicBezTo>
                    <a:pt x="174398" y="48917"/>
                    <a:pt x="135053" y="63805"/>
                    <a:pt x="87200" y="63805"/>
                  </a:cubicBezTo>
                  <a:cubicBezTo>
                    <a:pt x="39346" y="63805"/>
                    <a:pt x="0" y="48917"/>
                    <a:pt x="0" y="31902"/>
                  </a:cubicBezTo>
                  <a:cubicBezTo>
                    <a:pt x="0" y="14888"/>
                    <a:pt x="39346" y="0"/>
                    <a:pt x="87200" y="0"/>
                  </a:cubicBezTo>
                  <a:cubicBezTo>
                    <a:pt x="135053" y="0"/>
                    <a:pt x="174398" y="13825"/>
                    <a:pt x="174398" y="31902"/>
                  </a:cubicBezTo>
                  <a:close/>
                </a:path>
              </a:pathLst>
            </a:custGeom>
            <a:solidFill>
              <a:srgbClr val="FFFFFF"/>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2EED3234-1748-41C8-8593-E876265BABBF}"/>
                </a:ext>
              </a:extLst>
            </p:cNvPr>
            <p:cNvSpPr/>
            <p:nvPr/>
          </p:nvSpPr>
          <p:spPr>
            <a:xfrm>
              <a:off x="6557052" y="5930628"/>
              <a:ext cx="138242" cy="42536"/>
            </a:xfrm>
            <a:custGeom>
              <a:avLst/>
              <a:gdLst>
                <a:gd name="connsiteX0" fmla="*/ 138243 w 138242"/>
                <a:gd name="connsiteY0" fmla="*/ 21268 h 42536"/>
                <a:gd name="connsiteX1" fmla="*/ 69122 w 138242"/>
                <a:gd name="connsiteY1" fmla="*/ 42536 h 42536"/>
                <a:gd name="connsiteX2" fmla="*/ 0 w 138242"/>
                <a:gd name="connsiteY2" fmla="*/ 21268 h 42536"/>
                <a:gd name="connsiteX3" fmla="*/ 69122 w 138242"/>
                <a:gd name="connsiteY3" fmla="*/ 0 h 42536"/>
                <a:gd name="connsiteX4" fmla="*/ 138243 w 138242"/>
                <a:gd name="connsiteY4" fmla="*/ 21268 h 42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242" h="42536">
                  <a:moveTo>
                    <a:pt x="138243" y="21268"/>
                  </a:moveTo>
                  <a:cubicBezTo>
                    <a:pt x="138243" y="32966"/>
                    <a:pt x="107404" y="42536"/>
                    <a:pt x="69122" y="42536"/>
                  </a:cubicBezTo>
                  <a:cubicBezTo>
                    <a:pt x="30839" y="42536"/>
                    <a:pt x="0" y="32966"/>
                    <a:pt x="0" y="21268"/>
                  </a:cubicBezTo>
                  <a:cubicBezTo>
                    <a:pt x="0" y="9570"/>
                    <a:pt x="30839" y="0"/>
                    <a:pt x="69122" y="0"/>
                  </a:cubicBezTo>
                  <a:cubicBezTo>
                    <a:pt x="107404" y="0"/>
                    <a:pt x="138243" y="9570"/>
                    <a:pt x="138243" y="21268"/>
                  </a:cubicBezTo>
                  <a:close/>
                </a:path>
              </a:pathLst>
            </a:custGeom>
            <a:solidFill>
              <a:srgbClr val="7FBB42"/>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3C2BFE50-2D25-4F0C-B0CB-F66795E4F057}"/>
                </a:ext>
              </a:extLst>
            </p:cNvPr>
            <p:cNvSpPr/>
            <p:nvPr/>
          </p:nvSpPr>
          <p:spPr>
            <a:xfrm>
              <a:off x="6558110" y="5930628"/>
              <a:ext cx="138242" cy="34028"/>
            </a:xfrm>
            <a:custGeom>
              <a:avLst/>
              <a:gdLst>
                <a:gd name="connsiteX0" fmla="*/ 123355 w 138242"/>
                <a:gd name="connsiteY0" fmla="*/ 34029 h 34028"/>
                <a:gd name="connsiteX1" fmla="*/ 138243 w 138242"/>
                <a:gd name="connsiteY1" fmla="*/ 21268 h 34028"/>
                <a:gd name="connsiteX2" fmla="*/ 69121 w 138242"/>
                <a:gd name="connsiteY2" fmla="*/ 0 h 34028"/>
                <a:gd name="connsiteX3" fmla="*/ 0 w 138242"/>
                <a:gd name="connsiteY3" fmla="*/ 20205 h 34028"/>
                <a:gd name="connsiteX4" fmla="*/ 13825 w 138242"/>
                <a:gd name="connsiteY4" fmla="*/ 32966 h 34028"/>
                <a:gd name="connsiteX5" fmla="*/ 69121 w 138242"/>
                <a:gd name="connsiteY5" fmla="*/ 24458 h 34028"/>
                <a:gd name="connsiteX6" fmla="*/ 123355 w 138242"/>
                <a:gd name="connsiteY6" fmla="*/ 34029 h 34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242" h="34028">
                  <a:moveTo>
                    <a:pt x="123355" y="34029"/>
                  </a:moveTo>
                  <a:cubicBezTo>
                    <a:pt x="131862" y="30839"/>
                    <a:pt x="138243" y="25522"/>
                    <a:pt x="138243" y="21268"/>
                  </a:cubicBezTo>
                  <a:cubicBezTo>
                    <a:pt x="138243" y="9570"/>
                    <a:pt x="107404" y="0"/>
                    <a:pt x="69121" y="0"/>
                  </a:cubicBezTo>
                  <a:cubicBezTo>
                    <a:pt x="30839" y="0"/>
                    <a:pt x="0" y="8508"/>
                    <a:pt x="0" y="20205"/>
                  </a:cubicBezTo>
                  <a:cubicBezTo>
                    <a:pt x="0" y="25522"/>
                    <a:pt x="5317" y="29775"/>
                    <a:pt x="13825" y="32966"/>
                  </a:cubicBezTo>
                  <a:cubicBezTo>
                    <a:pt x="26585" y="27648"/>
                    <a:pt x="46790" y="24458"/>
                    <a:pt x="69121" y="24458"/>
                  </a:cubicBezTo>
                  <a:cubicBezTo>
                    <a:pt x="90389" y="25522"/>
                    <a:pt x="110595" y="28712"/>
                    <a:pt x="123355" y="34029"/>
                  </a:cubicBezTo>
                  <a:close/>
                </a:path>
              </a:pathLst>
            </a:custGeom>
            <a:solidFill>
              <a:srgbClr val="B8D433"/>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C88F0372-2D0D-4B86-AE98-5586110E679B}"/>
                </a:ext>
              </a:extLst>
            </p:cNvPr>
            <p:cNvSpPr/>
            <p:nvPr/>
          </p:nvSpPr>
          <p:spPr>
            <a:xfrm>
              <a:off x="6560225" y="6021032"/>
              <a:ext cx="37219" cy="55297"/>
            </a:xfrm>
            <a:custGeom>
              <a:avLst/>
              <a:gdLst>
                <a:gd name="connsiteX0" fmla="*/ 0 w 37219"/>
                <a:gd name="connsiteY0" fmla="*/ 53171 h 55297"/>
                <a:gd name="connsiteX1" fmla="*/ 0 w 37219"/>
                <a:gd name="connsiteY1" fmla="*/ 41474 h 55297"/>
                <a:gd name="connsiteX2" fmla="*/ 6380 w 37219"/>
                <a:gd name="connsiteY2" fmla="*/ 45727 h 55297"/>
                <a:gd name="connsiteX3" fmla="*/ 13825 w 37219"/>
                <a:gd name="connsiteY3" fmla="*/ 46791 h 55297"/>
                <a:gd name="connsiteX4" fmla="*/ 18078 w 37219"/>
                <a:gd name="connsiteY4" fmla="*/ 45727 h 55297"/>
                <a:gd name="connsiteX5" fmla="*/ 21269 w 37219"/>
                <a:gd name="connsiteY5" fmla="*/ 44663 h 55297"/>
                <a:gd name="connsiteX6" fmla="*/ 22332 w 37219"/>
                <a:gd name="connsiteY6" fmla="*/ 42536 h 55297"/>
                <a:gd name="connsiteX7" fmla="*/ 23396 w 37219"/>
                <a:gd name="connsiteY7" fmla="*/ 40410 h 55297"/>
                <a:gd name="connsiteX8" fmla="*/ 22332 w 37219"/>
                <a:gd name="connsiteY8" fmla="*/ 37219 h 55297"/>
                <a:gd name="connsiteX9" fmla="*/ 20205 w 37219"/>
                <a:gd name="connsiteY9" fmla="*/ 35093 h 55297"/>
                <a:gd name="connsiteX10" fmla="*/ 17015 w 37219"/>
                <a:gd name="connsiteY10" fmla="*/ 32966 h 55297"/>
                <a:gd name="connsiteX11" fmla="*/ 12761 w 37219"/>
                <a:gd name="connsiteY11" fmla="*/ 30839 h 55297"/>
                <a:gd name="connsiteX12" fmla="*/ 3191 w 37219"/>
                <a:gd name="connsiteY12" fmla="*/ 24458 h 55297"/>
                <a:gd name="connsiteX13" fmla="*/ 0 w 37219"/>
                <a:gd name="connsiteY13" fmla="*/ 15952 h 55297"/>
                <a:gd name="connsiteX14" fmla="*/ 1064 w 37219"/>
                <a:gd name="connsiteY14" fmla="*/ 9571 h 55297"/>
                <a:gd name="connsiteX15" fmla="*/ 5318 w 37219"/>
                <a:gd name="connsiteY15" fmla="*/ 4254 h 55297"/>
                <a:gd name="connsiteX16" fmla="*/ 11698 w 37219"/>
                <a:gd name="connsiteY16" fmla="*/ 1064 h 55297"/>
                <a:gd name="connsiteX17" fmla="*/ 20205 w 37219"/>
                <a:gd name="connsiteY17" fmla="*/ 0 h 55297"/>
                <a:gd name="connsiteX18" fmla="*/ 27649 w 37219"/>
                <a:gd name="connsiteY18" fmla="*/ 1064 h 55297"/>
                <a:gd name="connsiteX19" fmla="*/ 34030 w 37219"/>
                <a:gd name="connsiteY19" fmla="*/ 2127 h 55297"/>
                <a:gd name="connsiteX20" fmla="*/ 34030 w 37219"/>
                <a:gd name="connsiteY20" fmla="*/ 12761 h 55297"/>
                <a:gd name="connsiteX21" fmla="*/ 30839 w 37219"/>
                <a:gd name="connsiteY21" fmla="*/ 11697 h 55297"/>
                <a:gd name="connsiteX22" fmla="*/ 27649 w 37219"/>
                <a:gd name="connsiteY22" fmla="*/ 10635 h 55297"/>
                <a:gd name="connsiteX23" fmla="*/ 24458 w 37219"/>
                <a:gd name="connsiteY23" fmla="*/ 9571 h 55297"/>
                <a:gd name="connsiteX24" fmla="*/ 21269 w 37219"/>
                <a:gd name="connsiteY24" fmla="*/ 9571 h 55297"/>
                <a:gd name="connsiteX25" fmla="*/ 18078 w 37219"/>
                <a:gd name="connsiteY25" fmla="*/ 9571 h 55297"/>
                <a:gd name="connsiteX26" fmla="*/ 15952 w 37219"/>
                <a:gd name="connsiteY26" fmla="*/ 10635 h 55297"/>
                <a:gd name="connsiteX27" fmla="*/ 13825 w 37219"/>
                <a:gd name="connsiteY27" fmla="*/ 11697 h 55297"/>
                <a:gd name="connsiteX28" fmla="*/ 12761 w 37219"/>
                <a:gd name="connsiteY28" fmla="*/ 13825 h 55297"/>
                <a:gd name="connsiteX29" fmla="*/ 13825 w 37219"/>
                <a:gd name="connsiteY29" fmla="*/ 15952 h 55297"/>
                <a:gd name="connsiteX30" fmla="*/ 15952 w 37219"/>
                <a:gd name="connsiteY30" fmla="*/ 18078 h 55297"/>
                <a:gd name="connsiteX31" fmla="*/ 19141 w 37219"/>
                <a:gd name="connsiteY31" fmla="*/ 20205 h 55297"/>
                <a:gd name="connsiteX32" fmla="*/ 23396 w 37219"/>
                <a:gd name="connsiteY32" fmla="*/ 22332 h 55297"/>
                <a:gd name="connsiteX33" fmla="*/ 28713 w 37219"/>
                <a:gd name="connsiteY33" fmla="*/ 25522 h 55297"/>
                <a:gd name="connsiteX34" fmla="*/ 32966 w 37219"/>
                <a:gd name="connsiteY34" fmla="*/ 28713 h 55297"/>
                <a:gd name="connsiteX35" fmla="*/ 36156 w 37219"/>
                <a:gd name="connsiteY35" fmla="*/ 32966 h 55297"/>
                <a:gd name="connsiteX36" fmla="*/ 37219 w 37219"/>
                <a:gd name="connsiteY36" fmla="*/ 38283 h 55297"/>
                <a:gd name="connsiteX37" fmla="*/ 36156 w 37219"/>
                <a:gd name="connsiteY37" fmla="*/ 45727 h 55297"/>
                <a:gd name="connsiteX38" fmla="*/ 31902 w 37219"/>
                <a:gd name="connsiteY38" fmla="*/ 51044 h 55297"/>
                <a:gd name="connsiteX39" fmla="*/ 24458 w 37219"/>
                <a:gd name="connsiteY39" fmla="*/ 54234 h 55297"/>
                <a:gd name="connsiteX40" fmla="*/ 17015 w 37219"/>
                <a:gd name="connsiteY40" fmla="*/ 55297 h 55297"/>
                <a:gd name="connsiteX41" fmla="*/ 8508 w 37219"/>
                <a:gd name="connsiteY41" fmla="*/ 54234 h 55297"/>
                <a:gd name="connsiteX42" fmla="*/ 0 w 37219"/>
                <a:gd name="connsiteY42" fmla="*/ 53171 h 55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7219" h="55297">
                  <a:moveTo>
                    <a:pt x="0" y="53171"/>
                  </a:moveTo>
                  <a:lnTo>
                    <a:pt x="0" y="41474"/>
                  </a:lnTo>
                  <a:cubicBezTo>
                    <a:pt x="2127" y="43600"/>
                    <a:pt x="4254" y="44663"/>
                    <a:pt x="6380" y="45727"/>
                  </a:cubicBezTo>
                  <a:cubicBezTo>
                    <a:pt x="9571" y="46791"/>
                    <a:pt x="11697" y="46791"/>
                    <a:pt x="13825" y="46791"/>
                  </a:cubicBezTo>
                  <a:cubicBezTo>
                    <a:pt x="14888" y="46791"/>
                    <a:pt x="15952" y="46791"/>
                    <a:pt x="18078" y="45727"/>
                  </a:cubicBezTo>
                  <a:cubicBezTo>
                    <a:pt x="19141" y="45727"/>
                    <a:pt x="20205" y="44663"/>
                    <a:pt x="21269" y="44663"/>
                  </a:cubicBezTo>
                  <a:cubicBezTo>
                    <a:pt x="22332" y="43600"/>
                    <a:pt x="22332" y="43600"/>
                    <a:pt x="22332" y="42536"/>
                  </a:cubicBezTo>
                  <a:cubicBezTo>
                    <a:pt x="22332" y="41474"/>
                    <a:pt x="23396" y="41474"/>
                    <a:pt x="23396" y="40410"/>
                  </a:cubicBezTo>
                  <a:cubicBezTo>
                    <a:pt x="23396" y="39346"/>
                    <a:pt x="23396" y="38283"/>
                    <a:pt x="22332" y="37219"/>
                  </a:cubicBezTo>
                  <a:cubicBezTo>
                    <a:pt x="21269" y="36156"/>
                    <a:pt x="21269" y="36156"/>
                    <a:pt x="20205" y="35093"/>
                  </a:cubicBezTo>
                  <a:cubicBezTo>
                    <a:pt x="19141" y="34030"/>
                    <a:pt x="18078" y="34030"/>
                    <a:pt x="17015" y="32966"/>
                  </a:cubicBezTo>
                  <a:cubicBezTo>
                    <a:pt x="15952" y="31902"/>
                    <a:pt x="14888" y="31902"/>
                    <a:pt x="12761" y="30839"/>
                  </a:cubicBezTo>
                  <a:cubicBezTo>
                    <a:pt x="8508" y="28713"/>
                    <a:pt x="5318" y="26586"/>
                    <a:pt x="3191" y="24458"/>
                  </a:cubicBezTo>
                  <a:cubicBezTo>
                    <a:pt x="1064" y="21269"/>
                    <a:pt x="0" y="19141"/>
                    <a:pt x="0" y="15952"/>
                  </a:cubicBezTo>
                  <a:cubicBezTo>
                    <a:pt x="0" y="12761"/>
                    <a:pt x="1064" y="10635"/>
                    <a:pt x="1064" y="9571"/>
                  </a:cubicBezTo>
                  <a:cubicBezTo>
                    <a:pt x="2127" y="7444"/>
                    <a:pt x="4254" y="6380"/>
                    <a:pt x="5318" y="4254"/>
                  </a:cubicBezTo>
                  <a:cubicBezTo>
                    <a:pt x="7444" y="3191"/>
                    <a:pt x="9571" y="2127"/>
                    <a:pt x="11698" y="1064"/>
                  </a:cubicBezTo>
                  <a:cubicBezTo>
                    <a:pt x="14888" y="0"/>
                    <a:pt x="17015" y="0"/>
                    <a:pt x="20205" y="0"/>
                  </a:cubicBezTo>
                  <a:cubicBezTo>
                    <a:pt x="23396" y="0"/>
                    <a:pt x="25522" y="0"/>
                    <a:pt x="27649" y="1064"/>
                  </a:cubicBezTo>
                  <a:cubicBezTo>
                    <a:pt x="29776" y="1064"/>
                    <a:pt x="31902" y="2127"/>
                    <a:pt x="34030" y="2127"/>
                  </a:cubicBezTo>
                  <a:lnTo>
                    <a:pt x="34030" y="12761"/>
                  </a:lnTo>
                  <a:cubicBezTo>
                    <a:pt x="32966" y="11697"/>
                    <a:pt x="31902" y="11697"/>
                    <a:pt x="30839" y="11697"/>
                  </a:cubicBezTo>
                  <a:cubicBezTo>
                    <a:pt x="29776" y="10635"/>
                    <a:pt x="28713" y="10635"/>
                    <a:pt x="27649" y="10635"/>
                  </a:cubicBezTo>
                  <a:cubicBezTo>
                    <a:pt x="26586" y="10635"/>
                    <a:pt x="25522" y="9571"/>
                    <a:pt x="24458" y="9571"/>
                  </a:cubicBezTo>
                  <a:cubicBezTo>
                    <a:pt x="23396" y="9571"/>
                    <a:pt x="22332" y="9571"/>
                    <a:pt x="21269" y="9571"/>
                  </a:cubicBezTo>
                  <a:cubicBezTo>
                    <a:pt x="20205" y="9571"/>
                    <a:pt x="18078" y="9571"/>
                    <a:pt x="18078" y="9571"/>
                  </a:cubicBezTo>
                  <a:cubicBezTo>
                    <a:pt x="17015" y="9571"/>
                    <a:pt x="15952" y="10635"/>
                    <a:pt x="15952" y="10635"/>
                  </a:cubicBezTo>
                  <a:cubicBezTo>
                    <a:pt x="14888" y="11697"/>
                    <a:pt x="14888" y="11697"/>
                    <a:pt x="13825" y="11697"/>
                  </a:cubicBezTo>
                  <a:cubicBezTo>
                    <a:pt x="12761" y="12761"/>
                    <a:pt x="12761" y="12761"/>
                    <a:pt x="12761" y="13825"/>
                  </a:cubicBezTo>
                  <a:cubicBezTo>
                    <a:pt x="12761" y="14888"/>
                    <a:pt x="12761" y="14888"/>
                    <a:pt x="13825" y="15952"/>
                  </a:cubicBezTo>
                  <a:cubicBezTo>
                    <a:pt x="14888" y="17015"/>
                    <a:pt x="14888" y="17015"/>
                    <a:pt x="15952" y="18078"/>
                  </a:cubicBezTo>
                  <a:cubicBezTo>
                    <a:pt x="17015" y="19141"/>
                    <a:pt x="18078" y="19141"/>
                    <a:pt x="19141" y="20205"/>
                  </a:cubicBezTo>
                  <a:cubicBezTo>
                    <a:pt x="20205" y="21269"/>
                    <a:pt x="22332" y="21269"/>
                    <a:pt x="23396" y="22332"/>
                  </a:cubicBezTo>
                  <a:cubicBezTo>
                    <a:pt x="25522" y="23396"/>
                    <a:pt x="27649" y="24458"/>
                    <a:pt x="28713" y="25522"/>
                  </a:cubicBezTo>
                  <a:cubicBezTo>
                    <a:pt x="30839" y="26586"/>
                    <a:pt x="31902" y="27649"/>
                    <a:pt x="32966" y="28713"/>
                  </a:cubicBezTo>
                  <a:cubicBezTo>
                    <a:pt x="34030" y="29775"/>
                    <a:pt x="35093" y="31902"/>
                    <a:pt x="36156" y="32966"/>
                  </a:cubicBezTo>
                  <a:cubicBezTo>
                    <a:pt x="37219" y="34030"/>
                    <a:pt x="37219" y="36156"/>
                    <a:pt x="37219" y="38283"/>
                  </a:cubicBezTo>
                  <a:cubicBezTo>
                    <a:pt x="37219" y="41474"/>
                    <a:pt x="36156" y="43600"/>
                    <a:pt x="36156" y="45727"/>
                  </a:cubicBezTo>
                  <a:cubicBezTo>
                    <a:pt x="35093" y="47853"/>
                    <a:pt x="32966" y="48917"/>
                    <a:pt x="31902" y="51044"/>
                  </a:cubicBezTo>
                  <a:cubicBezTo>
                    <a:pt x="29776" y="52107"/>
                    <a:pt x="27649" y="53171"/>
                    <a:pt x="24458" y="54234"/>
                  </a:cubicBezTo>
                  <a:cubicBezTo>
                    <a:pt x="21269" y="55297"/>
                    <a:pt x="20205" y="55297"/>
                    <a:pt x="17015" y="55297"/>
                  </a:cubicBezTo>
                  <a:cubicBezTo>
                    <a:pt x="14888" y="55297"/>
                    <a:pt x="11697" y="55297"/>
                    <a:pt x="8508" y="54234"/>
                  </a:cubicBezTo>
                  <a:cubicBezTo>
                    <a:pt x="4254" y="55297"/>
                    <a:pt x="2127" y="54234"/>
                    <a:pt x="0" y="53171"/>
                  </a:cubicBezTo>
                  <a:close/>
                </a:path>
              </a:pathLst>
            </a:custGeom>
            <a:solidFill>
              <a:srgbClr val="FFFFFF"/>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6A8D2412-B322-426B-B34E-017FBFA9E158}"/>
                </a:ext>
              </a:extLst>
            </p:cNvPr>
            <p:cNvSpPr/>
            <p:nvPr/>
          </p:nvSpPr>
          <p:spPr>
            <a:xfrm>
              <a:off x="6601698" y="6023148"/>
              <a:ext cx="56360" cy="62741"/>
            </a:xfrm>
            <a:custGeom>
              <a:avLst/>
              <a:gdLst>
                <a:gd name="connsiteX0" fmla="*/ 25522 w 56360"/>
                <a:gd name="connsiteY0" fmla="*/ 54234 h 62741"/>
                <a:gd name="connsiteX1" fmla="*/ 7444 w 56360"/>
                <a:gd name="connsiteY1" fmla="*/ 46790 h 62741"/>
                <a:gd name="connsiteX2" fmla="*/ 0 w 56360"/>
                <a:gd name="connsiteY2" fmla="*/ 27648 h 62741"/>
                <a:gd name="connsiteX3" fmla="*/ 7444 w 56360"/>
                <a:gd name="connsiteY3" fmla="*/ 7444 h 62741"/>
                <a:gd name="connsiteX4" fmla="*/ 26586 w 56360"/>
                <a:gd name="connsiteY4" fmla="*/ 0 h 62741"/>
                <a:gd name="connsiteX5" fmla="*/ 44663 w 56360"/>
                <a:gd name="connsiteY5" fmla="*/ 7444 h 62741"/>
                <a:gd name="connsiteX6" fmla="*/ 52107 w 56360"/>
                <a:gd name="connsiteY6" fmla="*/ 27648 h 62741"/>
                <a:gd name="connsiteX7" fmla="*/ 44663 w 56360"/>
                <a:gd name="connsiteY7" fmla="*/ 47853 h 62741"/>
                <a:gd name="connsiteX8" fmla="*/ 43600 w 56360"/>
                <a:gd name="connsiteY8" fmla="*/ 48917 h 62741"/>
                <a:gd name="connsiteX9" fmla="*/ 42536 w 56360"/>
                <a:gd name="connsiteY9" fmla="*/ 49980 h 62741"/>
                <a:gd name="connsiteX10" fmla="*/ 56361 w 56360"/>
                <a:gd name="connsiteY10" fmla="*/ 62741 h 62741"/>
                <a:gd name="connsiteX11" fmla="*/ 39346 w 56360"/>
                <a:gd name="connsiteY11" fmla="*/ 62741 h 62741"/>
                <a:gd name="connsiteX12" fmla="*/ 32966 w 56360"/>
                <a:gd name="connsiteY12" fmla="*/ 55297 h 62741"/>
                <a:gd name="connsiteX13" fmla="*/ 25522 w 56360"/>
                <a:gd name="connsiteY13" fmla="*/ 54234 h 62741"/>
                <a:gd name="connsiteX14" fmla="*/ 26586 w 56360"/>
                <a:gd name="connsiteY14" fmla="*/ 9570 h 62741"/>
                <a:gd name="connsiteX15" fmla="*/ 15952 w 56360"/>
                <a:gd name="connsiteY15" fmla="*/ 13825 h 62741"/>
                <a:gd name="connsiteX16" fmla="*/ 12761 w 56360"/>
                <a:gd name="connsiteY16" fmla="*/ 26586 h 62741"/>
                <a:gd name="connsiteX17" fmla="*/ 15952 w 56360"/>
                <a:gd name="connsiteY17" fmla="*/ 39346 h 62741"/>
                <a:gd name="connsiteX18" fmla="*/ 25522 w 56360"/>
                <a:gd name="connsiteY18" fmla="*/ 43600 h 62741"/>
                <a:gd name="connsiteX19" fmla="*/ 35093 w 56360"/>
                <a:gd name="connsiteY19" fmla="*/ 39346 h 62741"/>
                <a:gd name="connsiteX20" fmla="*/ 38283 w 56360"/>
                <a:gd name="connsiteY20" fmla="*/ 26586 h 62741"/>
                <a:gd name="connsiteX21" fmla="*/ 35093 w 56360"/>
                <a:gd name="connsiteY21" fmla="*/ 13825 h 62741"/>
                <a:gd name="connsiteX22" fmla="*/ 26586 w 56360"/>
                <a:gd name="connsiteY22" fmla="*/ 9570 h 62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6360" h="62741">
                  <a:moveTo>
                    <a:pt x="25522" y="54234"/>
                  </a:moveTo>
                  <a:cubicBezTo>
                    <a:pt x="18079" y="54234"/>
                    <a:pt x="11698" y="51044"/>
                    <a:pt x="7444" y="46790"/>
                  </a:cubicBezTo>
                  <a:cubicBezTo>
                    <a:pt x="2127" y="42536"/>
                    <a:pt x="0" y="35092"/>
                    <a:pt x="0" y="27648"/>
                  </a:cubicBezTo>
                  <a:cubicBezTo>
                    <a:pt x="0" y="19141"/>
                    <a:pt x="2127" y="12761"/>
                    <a:pt x="7444" y="7444"/>
                  </a:cubicBezTo>
                  <a:cubicBezTo>
                    <a:pt x="11698" y="2127"/>
                    <a:pt x="18079" y="0"/>
                    <a:pt x="26586" y="0"/>
                  </a:cubicBezTo>
                  <a:cubicBezTo>
                    <a:pt x="34030" y="0"/>
                    <a:pt x="40410" y="2127"/>
                    <a:pt x="44663" y="7444"/>
                  </a:cubicBezTo>
                  <a:cubicBezTo>
                    <a:pt x="49980" y="12761"/>
                    <a:pt x="52107" y="19141"/>
                    <a:pt x="52107" y="27648"/>
                  </a:cubicBezTo>
                  <a:cubicBezTo>
                    <a:pt x="52107" y="36156"/>
                    <a:pt x="49980" y="42536"/>
                    <a:pt x="44663" y="47853"/>
                  </a:cubicBezTo>
                  <a:cubicBezTo>
                    <a:pt x="44663" y="47853"/>
                    <a:pt x="44663" y="47853"/>
                    <a:pt x="43600" y="48917"/>
                  </a:cubicBezTo>
                  <a:cubicBezTo>
                    <a:pt x="43600" y="48917"/>
                    <a:pt x="43600" y="48917"/>
                    <a:pt x="42536" y="49980"/>
                  </a:cubicBezTo>
                  <a:lnTo>
                    <a:pt x="56361" y="62741"/>
                  </a:lnTo>
                  <a:lnTo>
                    <a:pt x="39346" y="62741"/>
                  </a:lnTo>
                  <a:lnTo>
                    <a:pt x="32966" y="55297"/>
                  </a:lnTo>
                  <a:cubicBezTo>
                    <a:pt x="30839" y="54234"/>
                    <a:pt x="28713" y="54234"/>
                    <a:pt x="25522" y="54234"/>
                  </a:cubicBezTo>
                  <a:close/>
                  <a:moveTo>
                    <a:pt x="26586" y="9570"/>
                  </a:moveTo>
                  <a:cubicBezTo>
                    <a:pt x="22332" y="9570"/>
                    <a:pt x="19141" y="10634"/>
                    <a:pt x="15952" y="13825"/>
                  </a:cubicBezTo>
                  <a:cubicBezTo>
                    <a:pt x="12761" y="17014"/>
                    <a:pt x="12761" y="21268"/>
                    <a:pt x="12761" y="26586"/>
                  </a:cubicBezTo>
                  <a:cubicBezTo>
                    <a:pt x="12761" y="31902"/>
                    <a:pt x="13825" y="36156"/>
                    <a:pt x="15952" y="39346"/>
                  </a:cubicBezTo>
                  <a:cubicBezTo>
                    <a:pt x="19141" y="42536"/>
                    <a:pt x="21269" y="43600"/>
                    <a:pt x="25522" y="43600"/>
                  </a:cubicBezTo>
                  <a:cubicBezTo>
                    <a:pt x="29776" y="43600"/>
                    <a:pt x="32966" y="42536"/>
                    <a:pt x="35093" y="39346"/>
                  </a:cubicBezTo>
                  <a:cubicBezTo>
                    <a:pt x="37219" y="36156"/>
                    <a:pt x="38283" y="31902"/>
                    <a:pt x="38283" y="26586"/>
                  </a:cubicBezTo>
                  <a:cubicBezTo>
                    <a:pt x="38283" y="21268"/>
                    <a:pt x="37219" y="17014"/>
                    <a:pt x="35093" y="13825"/>
                  </a:cubicBezTo>
                  <a:cubicBezTo>
                    <a:pt x="34030" y="10634"/>
                    <a:pt x="30839" y="9570"/>
                    <a:pt x="26586" y="9570"/>
                  </a:cubicBezTo>
                  <a:close/>
                </a:path>
              </a:pathLst>
            </a:custGeom>
            <a:solidFill>
              <a:srgbClr val="FFFFFF"/>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6ECECC04-920E-4981-988E-36EC2F7CB37C}"/>
                </a:ext>
              </a:extLst>
            </p:cNvPr>
            <p:cNvSpPr/>
            <p:nvPr/>
          </p:nvSpPr>
          <p:spPr>
            <a:xfrm>
              <a:off x="6662320" y="6023148"/>
              <a:ext cx="31902" cy="53170"/>
            </a:xfrm>
            <a:custGeom>
              <a:avLst/>
              <a:gdLst>
                <a:gd name="connsiteX0" fmla="*/ 31902 w 31902"/>
                <a:gd name="connsiteY0" fmla="*/ 53170 h 53170"/>
                <a:gd name="connsiteX1" fmla="*/ 0 w 31902"/>
                <a:gd name="connsiteY1" fmla="*/ 53170 h 53170"/>
                <a:gd name="connsiteX2" fmla="*/ 0 w 31902"/>
                <a:gd name="connsiteY2" fmla="*/ 0 h 53170"/>
                <a:gd name="connsiteX3" fmla="*/ 11697 w 31902"/>
                <a:gd name="connsiteY3" fmla="*/ 0 h 53170"/>
                <a:gd name="connsiteX4" fmla="*/ 11697 w 31902"/>
                <a:gd name="connsiteY4" fmla="*/ 43600 h 53170"/>
                <a:gd name="connsiteX5" fmla="*/ 31902 w 31902"/>
                <a:gd name="connsiteY5" fmla="*/ 43600 h 53170"/>
                <a:gd name="connsiteX6" fmla="*/ 31902 w 31902"/>
                <a:gd name="connsiteY6" fmla="*/ 53170 h 53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02" h="53170">
                  <a:moveTo>
                    <a:pt x="31902" y="53170"/>
                  </a:moveTo>
                  <a:lnTo>
                    <a:pt x="0" y="53170"/>
                  </a:lnTo>
                  <a:lnTo>
                    <a:pt x="0" y="0"/>
                  </a:lnTo>
                  <a:lnTo>
                    <a:pt x="11697" y="0"/>
                  </a:lnTo>
                  <a:lnTo>
                    <a:pt x="11697" y="43600"/>
                  </a:lnTo>
                  <a:lnTo>
                    <a:pt x="31902" y="43600"/>
                  </a:lnTo>
                  <a:lnTo>
                    <a:pt x="31902" y="53170"/>
                  </a:lnTo>
                  <a:close/>
                </a:path>
              </a:pathLst>
            </a:custGeom>
            <a:solidFill>
              <a:srgbClr val="FFFFFF"/>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sp>
        <p:nvSpPr>
          <p:cNvPr id="16" name="Freeform 60" descr="Azure SQL Database">
            <a:extLst>
              <a:ext uri="{FF2B5EF4-FFF2-40B4-BE49-F238E27FC236}">
                <a16:creationId xmlns:a16="http://schemas.microsoft.com/office/drawing/2014/main" id="{38E8DE86-C384-4C2C-ACD2-51A4EB8221F9}"/>
              </a:ext>
            </a:extLst>
          </p:cNvPr>
          <p:cNvSpPr>
            <a:spLocks noChangeAspect="1"/>
          </p:cNvSpPr>
          <p:nvPr/>
        </p:nvSpPr>
        <p:spPr bwMode="auto">
          <a:xfrm>
            <a:off x="9061252" y="3212152"/>
            <a:ext cx="761121" cy="482023"/>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22225" cap="flat" cmpd="sng" algn="ctr">
            <a:solidFill>
              <a:srgbClr val="0078D7"/>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Tree>
    <p:extLst>
      <p:ext uri="{BB962C8B-B14F-4D97-AF65-F5344CB8AC3E}">
        <p14:creationId xmlns:p14="http://schemas.microsoft.com/office/powerpoint/2010/main" val="1196121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Management APIs</a:t>
            </a:r>
          </a:p>
        </p:txBody>
      </p:sp>
      <p:graphicFrame>
        <p:nvGraphicFramePr>
          <p:cNvPr id="8" name="Content Placeholder 7">
            <a:extLst>
              <a:ext uri="{FF2B5EF4-FFF2-40B4-BE49-F238E27FC236}">
                <a16:creationId xmlns:a16="http://schemas.microsoft.com/office/drawing/2014/main" id="{EC5E0D05-65DD-4048-B0D6-5E237DBF1D39}"/>
              </a:ext>
            </a:extLst>
          </p:cNvPr>
          <p:cNvGraphicFramePr>
            <a:graphicFrameLocks noGrp="1"/>
          </p:cNvGraphicFramePr>
          <p:nvPr>
            <p:ph sz="quarter" idx="13"/>
            <p:extLst>
              <p:ext uri="{D42A27DB-BD31-4B8C-83A1-F6EECF244321}">
                <p14:modId xmlns:p14="http://schemas.microsoft.com/office/powerpoint/2010/main" val="1535954170"/>
              </p:ext>
            </p:extLst>
          </p:nvPr>
        </p:nvGraphicFramePr>
        <p:xfrm>
          <a:off x="655638" y="1408113"/>
          <a:ext cx="5284787"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7" name="Content Placeholder 6">
            <a:extLst>
              <a:ext uri="{FF2B5EF4-FFF2-40B4-BE49-F238E27FC236}">
                <a16:creationId xmlns:a16="http://schemas.microsoft.com/office/drawing/2014/main" id="{22DF50A6-C784-4E8E-818D-CBB906A45B14}"/>
              </a:ext>
            </a:extLst>
          </p:cNvPr>
          <p:cNvGraphicFramePr>
            <a:graphicFrameLocks noGrp="1"/>
          </p:cNvGraphicFramePr>
          <p:nvPr>
            <p:ph sz="quarter" idx="14"/>
            <p:extLst>
              <p:ext uri="{D42A27DB-BD31-4B8C-83A1-F6EECF244321}">
                <p14:modId xmlns:p14="http://schemas.microsoft.com/office/powerpoint/2010/main" val="1190637909"/>
              </p:ext>
            </p:extLst>
          </p:nvPr>
        </p:nvGraphicFramePr>
        <p:xfrm>
          <a:off x="6251576" y="1408113"/>
          <a:ext cx="5284785" cy="481965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24040436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Azure Portal</a:t>
            </a:r>
          </a:p>
        </p:txBody>
      </p:sp>
      <p:pic>
        <p:nvPicPr>
          <p:cNvPr id="5" name="Content Placeholder 4">
            <a:extLst>
              <a:ext uri="{FF2B5EF4-FFF2-40B4-BE49-F238E27FC236}">
                <a16:creationId xmlns:a16="http://schemas.microsoft.com/office/drawing/2014/main" id="{BC81ADBB-6FCF-4102-A410-99CE76BDC82C}"/>
              </a:ext>
            </a:extLst>
          </p:cNvPr>
          <p:cNvPicPr>
            <a:picLocks noGrp="1" noChangeAspect="1"/>
          </p:cNvPicPr>
          <p:nvPr>
            <p:ph sz="quarter" idx="13"/>
          </p:nvPr>
        </p:nvPicPr>
        <p:blipFill>
          <a:blip r:embed="rId3"/>
          <a:stretch>
            <a:fillRect/>
          </a:stretch>
        </p:blipFill>
        <p:spPr>
          <a:xfrm>
            <a:off x="1740760" y="1219200"/>
            <a:ext cx="8710480" cy="481965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3929733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br>
              <a:rPr lang="en-US" dirty="0"/>
            </a:br>
            <a:endParaRPr lang="en-US" dirty="0"/>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b="1" dirty="0"/>
              <a:t>Connect to your database with SSMS and Azure Portal</a:t>
            </a:r>
          </a:p>
          <a:p>
            <a:pPr marL="571500" lvl="1" indent="-342900">
              <a:buFont typeface="Arial" panose="020B0604020202020204" pitchFamily="34" charset="0"/>
              <a:buChar char="•"/>
            </a:pPr>
            <a:r>
              <a:rPr lang="en-US" dirty="0"/>
              <a:t>Connect to your database with SSMS.</a:t>
            </a:r>
          </a:p>
          <a:p>
            <a:pPr marL="571500" lvl="1" indent="-342900">
              <a:buFont typeface="Arial" panose="020B0604020202020204" pitchFamily="34" charset="0"/>
              <a:buChar char="•"/>
            </a:pPr>
            <a:r>
              <a:rPr lang="en-US" dirty="0"/>
              <a:t>Connect to the portal and explore the different options.</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3841611615"/>
      </p:ext>
    </p:extLst>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sp>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dirty="0"/>
              <a:t>Various Tools to Manage Azure SQL Database</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pPr marL="342900" indent="-342900">
              <a:buFont typeface="Arial" panose="020B0604020202020204" pitchFamily="34" charset="0"/>
              <a:buChar char="•"/>
            </a:pPr>
            <a:r>
              <a:rPr lang="en-US" sz="2000" b="1" dirty="0"/>
              <a:t>Exercise 1: </a:t>
            </a:r>
            <a:r>
              <a:rPr lang="en-US" sz="2000" dirty="0"/>
              <a:t>Connect to your logical server with SQL Server Management Studio.</a:t>
            </a:r>
          </a:p>
          <a:p>
            <a:pPr marL="342900" indent="-342900">
              <a:buFont typeface="Arial" panose="020B0604020202020204" pitchFamily="34" charset="0"/>
              <a:buChar char="•"/>
            </a:pPr>
            <a:r>
              <a:rPr lang="en-US" sz="2000" b="1" dirty="0"/>
              <a:t>Exercise 2: </a:t>
            </a:r>
            <a:r>
              <a:rPr lang="en-US" sz="2000" dirty="0"/>
              <a:t>Connect to your logical server with SQL Server Data Tools.</a:t>
            </a:r>
          </a:p>
          <a:p>
            <a:pPr marL="342900" indent="-342900">
              <a:buFont typeface="Arial" panose="020B0604020202020204" pitchFamily="34" charset="0"/>
              <a:buChar char="•"/>
            </a:pPr>
            <a:r>
              <a:rPr lang="en-US" sz="2000" b="1" dirty="0"/>
              <a:t>Exercise 3: </a:t>
            </a:r>
            <a:r>
              <a:rPr lang="en-US" sz="2000" dirty="0"/>
              <a:t>Connect to your Azure SQL Database with Azure Portal.</a:t>
            </a:r>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1285512603"/>
      </p:ext>
    </p:extLst>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2980146838"/>
      </p:ext>
    </p:extLst>
  </p:cSld>
  <p:clrMapOvr>
    <a:masterClrMapping/>
  </p:clrMapOvr>
  <p:transition spd="slow"/>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1297822018"/>
              </p:ext>
            </p:extLst>
          </p:nvPr>
        </p:nvGraphicFramePr>
        <p:xfrm>
          <a:off x="655638" y="1408113"/>
          <a:ext cx="10880725" cy="22494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350965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graphicEl>
                                              <a:dgm id="{86989247-99F6-4AF2-B76D-35A7CDAFD370}"/>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graphicEl>
                                              <a:dgm id="{B9379030-5186-49D6-8048-84D114E616B4}"/>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Dgm bld="one"/>
        </p:bldSub>
      </p:bldGraphic>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774362" cy="604798"/>
          </a:xfrm>
        </p:spPr>
        <p:txBody>
          <a:bodyPr/>
          <a:lstStyle/>
          <a:p>
            <a:r>
              <a:rPr lang="en-US" dirty="0"/>
              <a:t>Lesson 2: Scaling Azure SQL Databases Up and Down</a:t>
            </a:r>
          </a:p>
        </p:txBody>
      </p:sp>
    </p:spTree>
    <p:extLst>
      <p:ext uri="{BB962C8B-B14F-4D97-AF65-F5344CB8AC3E}">
        <p14:creationId xmlns:p14="http://schemas.microsoft.com/office/powerpoint/2010/main" val="2894004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Describe the vertical scaling options on Azure SQL DB</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034824179"/>
      </p:ext>
    </p:extLst>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923330"/>
          </a:xfrm>
        </p:spPr>
        <p:txBody>
          <a:bodyPr/>
          <a:lstStyle/>
          <a:p>
            <a:r>
              <a:rPr lang="en-US" dirty="0"/>
              <a:t>Introduction – Scale up or down</a:t>
            </a:r>
            <a:br>
              <a:rPr lang="en-US" dirty="0"/>
            </a:br>
            <a:endParaRPr lang="en-US" dirty="0"/>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p:txBody>
          <a:bodyPr/>
          <a:lstStyle/>
          <a:p>
            <a:r>
              <a:rPr lang="en-US" dirty="0"/>
              <a:t>Scale up with one click.</a:t>
            </a:r>
          </a:p>
          <a:p>
            <a:r>
              <a:rPr lang="en-US" dirty="0"/>
              <a:t>Accommodate growth and peak workloads.</a:t>
            </a:r>
          </a:p>
          <a:p>
            <a:r>
              <a:rPr lang="en-US" dirty="0"/>
              <a:t>Pay for what you need, when you need it.</a:t>
            </a:r>
          </a:p>
          <a:p>
            <a:endParaRPr lang="en-US" dirty="0"/>
          </a:p>
        </p:txBody>
      </p:sp>
      <p:graphicFrame>
        <p:nvGraphicFramePr>
          <p:cNvPr id="5" name="Table 4">
            <a:extLst>
              <a:ext uri="{FF2B5EF4-FFF2-40B4-BE49-F238E27FC236}">
                <a16:creationId xmlns:a16="http://schemas.microsoft.com/office/drawing/2014/main" id="{038BF356-1E89-40D9-BEDB-34F14105319E}"/>
              </a:ext>
            </a:extLst>
          </p:cNvPr>
          <p:cNvGraphicFramePr>
            <a:graphicFrameLocks noGrp="1"/>
          </p:cNvGraphicFramePr>
          <p:nvPr/>
        </p:nvGraphicFramePr>
        <p:xfrm>
          <a:off x="607846" y="5690993"/>
          <a:ext cx="10958678" cy="365760"/>
        </p:xfrm>
        <a:graphic>
          <a:graphicData uri="http://schemas.openxmlformats.org/drawingml/2006/table">
            <a:tbl>
              <a:tblPr>
                <a:tableStyleId>{5C22544A-7EE6-4342-B048-85BDC9FD1C3A}</a:tableStyleId>
              </a:tblPr>
              <a:tblGrid>
                <a:gridCol w="520663">
                  <a:extLst>
                    <a:ext uri="{9D8B030D-6E8A-4147-A177-3AD203B41FA5}">
                      <a16:colId xmlns:a16="http://schemas.microsoft.com/office/drawing/2014/main" val="20000"/>
                    </a:ext>
                  </a:extLst>
                </a:gridCol>
                <a:gridCol w="535626">
                  <a:extLst>
                    <a:ext uri="{9D8B030D-6E8A-4147-A177-3AD203B41FA5}">
                      <a16:colId xmlns:a16="http://schemas.microsoft.com/office/drawing/2014/main" val="2036244271"/>
                    </a:ext>
                  </a:extLst>
                </a:gridCol>
                <a:gridCol w="676228">
                  <a:extLst>
                    <a:ext uri="{9D8B030D-6E8A-4147-A177-3AD203B41FA5}">
                      <a16:colId xmlns:a16="http://schemas.microsoft.com/office/drawing/2014/main" val="20002"/>
                    </a:ext>
                  </a:extLst>
                </a:gridCol>
                <a:gridCol w="803440">
                  <a:extLst>
                    <a:ext uri="{9D8B030D-6E8A-4147-A177-3AD203B41FA5}">
                      <a16:colId xmlns:a16="http://schemas.microsoft.com/office/drawing/2014/main" val="20003"/>
                    </a:ext>
                  </a:extLst>
                </a:gridCol>
                <a:gridCol w="863696">
                  <a:extLst>
                    <a:ext uri="{9D8B030D-6E8A-4147-A177-3AD203B41FA5}">
                      <a16:colId xmlns:a16="http://schemas.microsoft.com/office/drawing/2014/main" val="20004"/>
                    </a:ext>
                  </a:extLst>
                </a:gridCol>
                <a:gridCol w="1044472">
                  <a:extLst>
                    <a:ext uri="{9D8B030D-6E8A-4147-A177-3AD203B41FA5}">
                      <a16:colId xmlns:a16="http://schemas.microsoft.com/office/drawing/2014/main" val="20005"/>
                    </a:ext>
                  </a:extLst>
                </a:gridCol>
                <a:gridCol w="1064557">
                  <a:extLst>
                    <a:ext uri="{9D8B030D-6E8A-4147-A177-3AD203B41FA5}">
                      <a16:colId xmlns:a16="http://schemas.microsoft.com/office/drawing/2014/main" val="67562925"/>
                    </a:ext>
                  </a:extLst>
                </a:gridCol>
                <a:gridCol w="1158292">
                  <a:extLst>
                    <a:ext uri="{9D8B030D-6E8A-4147-A177-3AD203B41FA5}">
                      <a16:colId xmlns:a16="http://schemas.microsoft.com/office/drawing/2014/main" val="2806863412"/>
                    </a:ext>
                  </a:extLst>
                </a:gridCol>
                <a:gridCol w="1439496">
                  <a:extLst>
                    <a:ext uri="{9D8B030D-6E8A-4147-A177-3AD203B41FA5}">
                      <a16:colId xmlns:a16="http://schemas.microsoft.com/office/drawing/2014/main" val="1475134852"/>
                    </a:ext>
                  </a:extLst>
                </a:gridCol>
                <a:gridCol w="1426104">
                  <a:extLst>
                    <a:ext uri="{9D8B030D-6E8A-4147-A177-3AD203B41FA5}">
                      <a16:colId xmlns:a16="http://schemas.microsoft.com/office/drawing/2014/main" val="2577098201"/>
                    </a:ext>
                  </a:extLst>
                </a:gridCol>
                <a:gridCol w="1426104">
                  <a:extLst>
                    <a:ext uri="{9D8B030D-6E8A-4147-A177-3AD203B41FA5}">
                      <a16:colId xmlns:a16="http://schemas.microsoft.com/office/drawing/2014/main" val="1479961647"/>
                    </a:ext>
                  </a:extLst>
                </a:gridCol>
              </a:tblGrid>
              <a:tr h="355295">
                <a:tc>
                  <a:txBody>
                    <a:bodyPr/>
                    <a:lstStyle/>
                    <a:p>
                      <a:pPr algn="ctr"/>
                      <a:r>
                        <a:rPr lang="en-US" b="0">
                          <a:solidFill>
                            <a:srgbClr val="FFFFFF"/>
                          </a:solidFill>
                          <a:latin typeface="Segoe Black" panose="020B0A02040504020203" pitchFamily="34" charset="0"/>
                        </a:rPr>
                        <a:t>5</a:t>
                      </a:r>
                    </a:p>
                  </a:txBody>
                  <a:tcPr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BBBCBE"/>
                    </a:solidFill>
                  </a:tcPr>
                </a:tc>
                <a:tc>
                  <a:txBody>
                    <a:bodyPr/>
                    <a:lstStyle/>
                    <a:p>
                      <a:pPr algn="ctr"/>
                      <a:r>
                        <a:rPr lang="en-US" b="0">
                          <a:solidFill>
                            <a:srgbClr val="FFFFFF"/>
                          </a:solidFill>
                          <a:latin typeface="Segoe Black" panose="020B0A02040504020203" pitchFamily="34" charset="0"/>
                        </a:rPr>
                        <a:t>10</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00BCF2"/>
                    </a:solidFill>
                  </a:tcPr>
                </a:tc>
                <a:tc>
                  <a:txBody>
                    <a:bodyPr/>
                    <a:lstStyle/>
                    <a:p>
                      <a:pPr algn="ctr"/>
                      <a:r>
                        <a:rPr lang="en-US" b="0">
                          <a:solidFill>
                            <a:srgbClr val="FFFFFF"/>
                          </a:solidFill>
                          <a:latin typeface="Segoe Black" panose="020B0A02040504020203" pitchFamily="34" charset="0"/>
                        </a:rPr>
                        <a:t>20</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00BCF2"/>
                    </a:solidFill>
                  </a:tcPr>
                </a:tc>
                <a:tc>
                  <a:txBody>
                    <a:bodyPr/>
                    <a:lstStyle/>
                    <a:p>
                      <a:pPr algn="ctr"/>
                      <a:r>
                        <a:rPr lang="en-US" b="0">
                          <a:solidFill>
                            <a:srgbClr val="FFFFFF"/>
                          </a:solidFill>
                          <a:latin typeface="Segoe Black" panose="020B0A02040504020203" pitchFamily="34" charset="0"/>
                        </a:rPr>
                        <a:t>50</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00BCF2"/>
                    </a:solidFill>
                  </a:tcPr>
                </a:tc>
                <a:tc>
                  <a:txBody>
                    <a:bodyPr/>
                    <a:lstStyle/>
                    <a:p>
                      <a:pPr algn="ctr"/>
                      <a:r>
                        <a:rPr lang="en-US" b="0">
                          <a:solidFill>
                            <a:srgbClr val="FFFFFF"/>
                          </a:solidFill>
                          <a:latin typeface="Segoe Black" panose="020B0A02040504020203" pitchFamily="34" charset="0"/>
                        </a:rPr>
                        <a:t>100</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00BCF2"/>
                    </a:solidFill>
                  </a:tcPr>
                </a:tc>
                <a:tc>
                  <a:txBody>
                    <a:bodyPr/>
                    <a:lstStyle/>
                    <a:p>
                      <a:pPr algn="ctr"/>
                      <a:r>
                        <a:rPr lang="en-US" b="0">
                          <a:solidFill>
                            <a:srgbClr val="FFFFFF"/>
                          </a:solidFill>
                          <a:latin typeface="Segoe Black" panose="020B0A02040504020203" pitchFamily="34" charset="0"/>
                        </a:rPr>
                        <a:t>125</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BAD80A"/>
                    </a:solidFill>
                  </a:tcPr>
                </a:tc>
                <a:tc>
                  <a:txBody>
                    <a:bodyPr/>
                    <a:lstStyle/>
                    <a:p>
                      <a:pPr algn="ctr"/>
                      <a:r>
                        <a:rPr lang="en-US" b="0">
                          <a:solidFill>
                            <a:srgbClr val="FFFFFF"/>
                          </a:solidFill>
                          <a:latin typeface="Segoe Black" panose="020B0A02040504020203" pitchFamily="34" charset="0"/>
                        </a:rPr>
                        <a:t>250</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BAD80A"/>
                    </a:solidFill>
                  </a:tcPr>
                </a:tc>
                <a:tc>
                  <a:txBody>
                    <a:bodyPr/>
                    <a:lstStyle/>
                    <a:p>
                      <a:pPr algn="ctr"/>
                      <a:r>
                        <a:rPr lang="en-US" b="0">
                          <a:solidFill>
                            <a:srgbClr val="FFFFFF"/>
                          </a:solidFill>
                          <a:latin typeface="Segoe Black" panose="020B0A02040504020203" pitchFamily="34" charset="0"/>
                        </a:rPr>
                        <a:t>500</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rgbClr val="BAD80A"/>
                    </a:solidFill>
                  </a:tcPr>
                </a:tc>
                <a:tc>
                  <a:txBody>
                    <a:bodyPr/>
                    <a:lstStyle/>
                    <a:p>
                      <a:pPr algn="ctr"/>
                      <a:r>
                        <a:rPr lang="en-US" b="0">
                          <a:solidFill>
                            <a:srgbClr val="FFFFFF"/>
                          </a:solidFill>
                          <a:latin typeface="Segoe Black" panose="020B0A02040504020203" pitchFamily="34" charset="0"/>
                        </a:rPr>
                        <a:t>1,000</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80A"/>
                    </a:solidFill>
                  </a:tcPr>
                </a:tc>
                <a:tc>
                  <a:txBody>
                    <a:bodyPr/>
                    <a:lstStyle/>
                    <a:p>
                      <a:pPr algn="ctr"/>
                      <a:r>
                        <a:rPr lang="en-US" b="0">
                          <a:solidFill>
                            <a:srgbClr val="FFFFFF"/>
                          </a:solidFill>
                          <a:latin typeface="Segoe Black" panose="020B0A02040504020203" pitchFamily="34" charset="0"/>
                        </a:rPr>
                        <a:t>1,750</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80A"/>
                    </a:solidFill>
                  </a:tcPr>
                </a:tc>
                <a:tc>
                  <a:txBody>
                    <a:bodyPr/>
                    <a:lstStyle/>
                    <a:p>
                      <a:pPr algn="ctr"/>
                      <a:r>
                        <a:rPr lang="en-US" b="0">
                          <a:solidFill>
                            <a:srgbClr val="FFFFFF"/>
                          </a:solidFill>
                          <a:latin typeface="Segoe Black" panose="020B0A02040504020203" pitchFamily="34" charset="0"/>
                        </a:rPr>
                        <a:t>4,000</a:t>
                      </a:r>
                    </a:p>
                  </a:txBody>
                  <a:tcPr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80A"/>
                    </a:solidFill>
                  </a:tcPr>
                </a:tc>
                <a:extLst>
                  <a:ext uri="{0D108BD9-81ED-4DB2-BD59-A6C34878D82A}">
                    <a16:rowId xmlns:a16="http://schemas.microsoft.com/office/drawing/2014/main" val="594647120"/>
                  </a:ext>
                </a:extLst>
              </a:tr>
            </a:tbl>
          </a:graphicData>
        </a:graphic>
      </p:graphicFrame>
      <p:grpSp>
        <p:nvGrpSpPr>
          <p:cNvPr id="6" name="Group 5">
            <a:extLst>
              <a:ext uri="{FF2B5EF4-FFF2-40B4-BE49-F238E27FC236}">
                <a16:creationId xmlns:a16="http://schemas.microsoft.com/office/drawing/2014/main" id="{3BFD6FD1-2168-471C-91C5-80649D2E359A}"/>
              </a:ext>
            </a:extLst>
          </p:cNvPr>
          <p:cNvGrpSpPr/>
          <p:nvPr/>
        </p:nvGrpSpPr>
        <p:grpSpPr>
          <a:xfrm>
            <a:off x="5088256" y="5586557"/>
            <a:ext cx="992778" cy="689312"/>
            <a:chOff x="5485162" y="5752002"/>
            <a:chExt cx="693772" cy="944112"/>
          </a:xfrm>
        </p:grpSpPr>
        <p:sp>
          <p:nvSpPr>
            <p:cNvPr id="7" name="Rectangle 6">
              <a:extLst>
                <a:ext uri="{FF2B5EF4-FFF2-40B4-BE49-F238E27FC236}">
                  <a16:creationId xmlns:a16="http://schemas.microsoft.com/office/drawing/2014/main" id="{F0533FCD-9ED0-4415-A69F-062160E4CC40}"/>
                </a:ext>
              </a:extLst>
            </p:cNvPr>
            <p:cNvSpPr/>
            <p:nvPr/>
          </p:nvSpPr>
          <p:spPr bwMode="auto">
            <a:xfrm>
              <a:off x="5485162" y="6386228"/>
              <a:ext cx="693772" cy="30988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Freeform 19">
              <a:extLst>
                <a:ext uri="{FF2B5EF4-FFF2-40B4-BE49-F238E27FC236}">
                  <a16:creationId xmlns:a16="http://schemas.microsoft.com/office/drawing/2014/main" id="{205C9DD7-DA66-49B6-8394-89FED183066F}"/>
                </a:ext>
              </a:extLst>
            </p:cNvPr>
            <p:cNvSpPr/>
            <p:nvPr/>
          </p:nvSpPr>
          <p:spPr bwMode="auto">
            <a:xfrm>
              <a:off x="5485162" y="5752002"/>
              <a:ext cx="693772" cy="944112"/>
            </a:xfrm>
            <a:custGeom>
              <a:avLst/>
              <a:gdLst>
                <a:gd name="connsiteX0" fmla="*/ 303845 w 693772"/>
                <a:gd name="connsiteY0" fmla="*/ 0 h 1052514"/>
                <a:gd name="connsiteX1" fmla="*/ 389927 w 693772"/>
                <a:gd name="connsiteY1" fmla="*/ 0 h 1052514"/>
                <a:gd name="connsiteX2" fmla="*/ 693772 w 693772"/>
                <a:gd name="connsiteY2" fmla="*/ 526257 h 1052514"/>
                <a:gd name="connsiteX3" fmla="*/ 693772 w 693772"/>
                <a:gd name="connsiteY3" fmla="*/ 1052514 h 1052514"/>
                <a:gd name="connsiteX4" fmla="*/ 0 w 693772"/>
                <a:gd name="connsiteY4" fmla="*/ 1052514 h 1052514"/>
                <a:gd name="connsiteX5" fmla="*/ 0 w 693772"/>
                <a:gd name="connsiteY5" fmla="*/ 526257 h 1052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3772" h="1052514">
                  <a:moveTo>
                    <a:pt x="303845" y="0"/>
                  </a:moveTo>
                  <a:lnTo>
                    <a:pt x="389927" y="0"/>
                  </a:lnTo>
                  <a:lnTo>
                    <a:pt x="693772" y="526257"/>
                  </a:lnTo>
                  <a:lnTo>
                    <a:pt x="693772" y="1052514"/>
                  </a:lnTo>
                  <a:lnTo>
                    <a:pt x="0" y="1052514"/>
                  </a:lnTo>
                  <a:lnTo>
                    <a:pt x="0" y="526257"/>
                  </a:lnTo>
                  <a:close/>
                </a:path>
              </a:pathLst>
            </a:custGeom>
            <a:noFill/>
            <a:ln w="571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 name="Straight Arrow Connector 8">
              <a:extLst>
                <a:ext uri="{FF2B5EF4-FFF2-40B4-BE49-F238E27FC236}">
                  <a16:creationId xmlns:a16="http://schemas.microsoft.com/office/drawing/2014/main" id="{1CAC9E49-2108-4D33-BEB5-4F742A529BDA}"/>
                </a:ext>
              </a:extLst>
            </p:cNvPr>
            <p:cNvCxnSpPr/>
            <p:nvPr/>
          </p:nvCxnSpPr>
          <p:spPr>
            <a:xfrm>
              <a:off x="5553503" y="6560448"/>
              <a:ext cx="550097" cy="0"/>
            </a:xfrm>
            <a:prstGeom prst="straightConnector1">
              <a:avLst/>
            </a:prstGeom>
            <a:ln w="3810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10" name="Rectangle 9">
            <a:extLst>
              <a:ext uri="{FF2B5EF4-FFF2-40B4-BE49-F238E27FC236}">
                <a16:creationId xmlns:a16="http://schemas.microsoft.com/office/drawing/2014/main" id="{757013C6-7961-442F-B763-874EFBA5FAEC}"/>
              </a:ext>
            </a:extLst>
          </p:cNvPr>
          <p:cNvSpPr/>
          <p:nvPr/>
        </p:nvSpPr>
        <p:spPr>
          <a:xfrm>
            <a:off x="3867993" y="6061998"/>
            <a:ext cx="7752044" cy="258532"/>
          </a:xfrm>
          <a:prstGeom prst="rect">
            <a:avLst/>
          </a:prstGeom>
        </p:spPr>
        <p:txBody>
          <a:bodyPr wrap="square">
            <a:spAutoFit/>
          </a:bodyPr>
          <a:lstStyle/>
          <a:p>
            <a:pPr marL="0" marR="0" lvl="0" indent="0" algn="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chemeClr val="bg1">
                    <a:lumMod val="50000"/>
                  </a:schemeClr>
                </a:solidFill>
                <a:effectLst/>
                <a:uLnTx/>
                <a:uFillTx/>
                <a:latin typeface="Segoe UI" panose="020B0502040204020203" pitchFamily="34" charset="0"/>
                <a:ea typeface="Segoe UI" panose="020B0502040204020203" pitchFamily="34" charset="0"/>
                <a:cs typeface="Segoe UI" panose="020B0502040204020203" pitchFamily="34" charset="0"/>
              </a:rPr>
              <a:t>Database transaction units (DTUs)</a:t>
            </a:r>
          </a:p>
        </p:txBody>
      </p:sp>
      <p:graphicFrame>
        <p:nvGraphicFramePr>
          <p:cNvPr id="11" name="Table 10">
            <a:extLst>
              <a:ext uri="{FF2B5EF4-FFF2-40B4-BE49-F238E27FC236}">
                <a16:creationId xmlns:a16="http://schemas.microsoft.com/office/drawing/2014/main" id="{E98BCF77-3ED4-4B24-B5E4-1763C6326330}"/>
              </a:ext>
            </a:extLst>
          </p:cNvPr>
          <p:cNvGraphicFramePr>
            <a:graphicFrameLocks noGrp="1"/>
          </p:cNvGraphicFramePr>
          <p:nvPr/>
        </p:nvGraphicFramePr>
        <p:xfrm>
          <a:off x="607846" y="6084845"/>
          <a:ext cx="10958677" cy="364715"/>
        </p:xfrm>
        <a:graphic>
          <a:graphicData uri="http://schemas.openxmlformats.org/drawingml/2006/table">
            <a:tbl>
              <a:tblPr>
                <a:tableStyleId>{5C22544A-7EE6-4342-B048-85BDC9FD1C3A}</a:tableStyleId>
              </a:tblPr>
              <a:tblGrid>
                <a:gridCol w="528623">
                  <a:extLst>
                    <a:ext uri="{9D8B030D-6E8A-4147-A177-3AD203B41FA5}">
                      <a16:colId xmlns:a16="http://schemas.microsoft.com/office/drawing/2014/main" val="20000"/>
                    </a:ext>
                  </a:extLst>
                </a:gridCol>
                <a:gridCol w="2869474">
                  <a:extLst>
                    <a:ext uri="{9D8B030D-6E8A-4147-A177-3AD203B41FA5}">
                      <a16:colId xmlns:a16="http://schemas.microsoft.com/office/drawing/2014/main" val="20001"/>
                    </a:ext>
                  </a:extLst>
                </a:gridCol>
                <a:gridCol w="7560580">
                  <a:extLst>
                    <a:ext uri="{9D8B030D-6E8A-4147-A177-3AD203B41FA5}">
                      <a16:colId xmlns:a16="http://schemas.microsoft.com/office/drawing/2014/main" val="20002"/>
                    </a:ext>
                  </a:extLst>
                </a:gridCol>
              </a:tblGrid>
              <a:tr h="364715">
                <a:tc>
                  <a:txBody>
                    <a:bodyPr/>
                    <a:lstStyle/>
                    <a:p>
                      <a:pPr algn="ctr"/>
                      <a:r>
                        <a:rPr lang="en-US" sz="1600" b="1" kern="0">
                          <a:solidFill>
                            <a:schemeClr val="bg1">
                              <a:lumMod val="50000"/>
                            </a:schemeClr>
                          </a:solidFill>
                          <a:latin typeface="+mn-lt"/>
                        </a:rPr>
                        <a:t>Basic</a:t>
                      </a:r>
                      <a:endParaRPr lang="en-US" sz="1600">
                        <a:solidFill>
                          <a:schemeClr val="bg1">
                            <a:lumMod val="50000"/>
                          </a:schemeClr>
                        </a:solidFill>
                        <a:latin typeface="+mn-lt"/>
                      </a:endParaRPr>
                    </a:p>
                  </a:txBody>
                  <a:tcPr marL="0" marR="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600" b="1" kern="0">
                          <a:solidFill>
                            <a:schemeClr val="accent1"/>
                          </a:solidFill>
                          <a:latin typeface="+mn-lt"/>
                        </a:rPr>
                        <a:t>Standard</a:t>
                      </a:r>
                      <a:endParaRPr lang="en-US" sz="1600">
                        <a:solidFill>
                          <a:schemeClr val="accent1"/>
                        </a:solidFill>
                        <a:latin typeface="+mn-lt"/>
                      </a:endParaRPr>
                    </a:p>
                  </a:txBody>
                  <a:tcPr marL="0" marR="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600" b="1" kern="0" dirty="0">
                          <a:solidFill>
                            <a:srgbClr val="107C10"/>
                          </a:solidFill>
                          <a:latin typeface="+mn-lt"/>
                        </a:rPr>
                        <a:t>Premium</a:t>
                      </a:r>
                      <a:endParaRPr lang="en-US" sz="1600" dirty="0">
                        <a:solidFill>
                          <a:srgbClr val="107C10"/>
                        </a:solidFill>
                        <a:latin typeface="+mn-lt"/>
                      </a:endParaRPr>
                    </a:p>
                  </a:txBody>
                  <a:tcPr marL="0" marR="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pSp>
        <p:nvGrpSpPr>
          <p:cNvPr id="12" name="Group 11">
            <a:extLst>
              <a:ext uri="{FF2B5EF4-FFF2-40B4-BE49-F238E27FC236}">
                <a16:creationId xmlns:a16="http://schemas.microsoft.com/office/drawing/2014/main" id="{E0D6C25B-A97C-4C58-B546-F46C15C2CDC3}"/>
              </a:ext>
            </a:extLst>
          </p:cNvPr>
          <p:cNvGrpSpPr>
            <a:grpSpLocks noChangeAspect="1"/>
          </p:cNvGrpSpPr>
          <p:nvPr/>
        </p:nvGrpSpPr>
        <p:grpSpPr>
          <a:xfrm>
            <a:off x="673823" y="4922773"/>
            <a:ext cx="388827" cy="515706"/>
            <a:chOff x="6274552" y="4026143"/>
            <a:chExt cx="1120921" cy="1484259"/>
          </a:xfrm>
        </p:grpSpPr>
        <p:sp>
          <p:nvSpPr>
            <p:cNvPr id="13" name="Freeform 6">
              <a:extLst>
                <a:ext uri="{FF2B5EF4-FFF2-40B4-BE49-F238E27FC236}">
                  <a16:creationId xmlns:a16="http://schemas.microsoft.com/office/drawing/2014/main" id="{B1227F39-F34F-4448-957D-30306AB4900E}"/>
                </a:ext>
              </a:extLst>
            </p:cNvPr>
            <p:cNvSpPr>
              <a:spLocks/>
            </p:cNvSpPr>
            <p:nvPr/>
          </p:nvSpPr>
          <p:spPr bwMode="auto">
            <a:xfrm>
              <a:off x="6274552" y="4227136"/>
              <a:ext cx="1120919" cy="1283266"/>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rgbClr val="80808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4" name="Freeform 7">
              <a:extLst>
                <a:ext uri="{FF2B5EF4-FFF2-40B4-BE49-F238E27FC236}">
                  <a16:creationId xmlns:a16="http://schemas.microsoft.com/office/drawing/2014/main" id="{5EF62DE1-FA27-42DE-9633-638CA31D900A}"/>
                </a:ext>
              </a:extLst>
            </p:cNvPr>
            <p:cNvSpPr>
              <a:spLocks/>
            </p:cNvSpPr>
            <p:nvPr/>
          </p:nvSpPr>
          <p:spPr bwMode="auto">
            <a:xfrm>
              <a:off x="6827282" y="4227136"/>
              <a:ext cx="568191" cy="1283266"/>
            </a:xfrm>
            <a:custGeom>
              <a:avLst/>
              <a:gdLst>
                <a:gd name="T0" fmla="*/ 0 w 1321"/>
                <a:gd name="T1" fmla="*/ 0 h 2984"/>
                <a:gd name="T2" fmla="*/ 1321 w 1321"/>
                <a:gd name="T3" fmla="*/ 0 h 2984"/>
                <a:gd name="T4" fmla="*/ 1321 w 1321"/>
                <a:gd name="T5" fmla="*/ 2512 h 2984"/>
                <a:gd name="T6" fmla="*/ 1318 w 1321"/>
                <a:gd name="T7" fmla="*/ 2547 h 2984"/>
                <a:gd name="T8" fmla="*/ 1308 w 1321"/>
                <a:gd name="T9" fmla="*/ 2582 h 2984"/>
                <a:gd name="T10" fmla="*/ 1290 w 1321"/>
                <a:gd name="T11" fmla="*/ 2615 h 2984"/>
                <a:gd name="T12" fmla="*/ 1266 w 1321"/>
                <a:gd name="T13" fmla="*/ 2648 h 2984"/>
                <a:gd name="T14" fmla="*/ 1236 w 1321"/>
                <a:gd name="T15" fmla="*/ 2680 h 2984"/>
                <a:gd name="T16" fmla="*/ 1200 w 1321"/>
                <a:gd name="T17" fmla="*/ 2711 h 2984"/>
                <a:gd name="T18" fmla="*/ 1159 w 1321"/>
                <a:gd name="T19" fmla="*/ 2740 h 2984"/>
                <a:gd name="T20" fmla="*/ 1112 w 1321"/>
                <a:gd name="T21" fmla="*/ 2769 h 2984"/>
                <a:gd name="T22" fmla="*/ 1058 w 1321"/>
                <a:gd name="T23" fmla="*/ 2795 h 2984"/>
                <a:gd name="T24" fmla="*/ 1002 w 1321"/>
                <a:gd name="T25" fmla="*/ 2822 h 2984"/>
                <a:gd name="T26" fmla="*/ 939 w 1321"/>
                <a:gd name="T27" fmla="*/ 2846 h 2984"/>
                <a:gd name="T28" fmla="*/ 873 w 1321"/>
                <a:gd name="T29" fmla="*/ 2868 h 2984"/>
                <a:gd name="T30" fmla="*/ 802 w 1321"/>
                <a:gd name="T31" fmla="*/ 2889 h 2984"/>
                <a:gd name="T32" fmla="*/ 727 w 1321"/>
                <a:gd name="T33" fmla="*/ 2908 h 2984"/>
                <a:gd name="T34" fmla="*/ 649 w 1321"/>
                <a:gd name="T35" fmla="*/ 2925 h 2984"/>
                <a:gd name="T36" fmla="*/ 567 w 1321"/>
                <a:gd name="T37" fmla="*/ 2940 h 2984"/>
                <a:gd name="T38" fmla="*/ 482 w 1321"/>
                <a:gd name="T39" fmla="*/ 2953 h 2984"/>
                <a:gd name="T40" fmla="*/ 394 w 1321"/>
                <a:gd name="T41" fmla="*/ 2964 h 2984"/>
                <a:gd name="T42" fmla="*/ 303 w 1321"/>
                <a:gd name="T43" fmla="*/ 2972 h 2984"/>
                <a:gd name="T44" fmla="*/ 210 w 1321"/>
                <a:gd name="T45" fmla="*/ 2979 h 2984"/>
                <a:gd name="T46" fmla="*/ 115 w 1321"/>
                <a:gd name="T47" fmla="*/ 2983 h 2984"/>
                <a:gd name="T48" fmla="*/ 17 w 1321"/>
                <a:gd name="T49" fmla="*/ 2984 h 2984"/>
                <a:gd name="T50" fmla="*/ 0 w 1321"/>
                <a:gd name="T51" fmla="*/ 2984 h 2984"/>
                <a:gd name="T52" fmla="*/ 0 w 1321"/>
                <a:gd name="T5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21" h="2984">
                  <a:moveTo>
                    <a:pt x="0" y="0"/>
                  </a:moveTo>
                  <a:lnTo>
                    <a:pt x="1321" y="0"/>
                  </a:lnTo>
                  <a:lnTo>
                    <a:pt x="1321" y="2512"/>
                  </a:lnTo>
                  <a:lnTo>
                    <a:pt x="1318" y="2547"/>
                  </a:lnTo>
                  <a:lnTo>
                    <a:pt x="1308" y="2582"/>
                  </a:lnTo>
                  <a:lnTo>
                    <a:pt x="1290" y="2615"/>
                  </a:lnTo>
                  <a:lnTo>
                    <a:pt x="1266" y="2648"/>
                  </a:lnTo>
                  <a:lnTo>
                    <a:pt x="1236" y="2680"/>
                  </a:lnTo>
                  <a:lnTo>
                    <a:pt x="1200" y="2711"/>
                  </a:lnTo>
                  <a:lnTo>
                    <a:pt x="1159" y="2740"/>
                  </a:lnTo>
                  <a:lnTo>
                    <a:pt x="1112" y="2769"/>
                  </a:lnTo>
                  <a:lnTo>
                    <a:pt x="1058" y="2795"/>
                  </a:lnTo>
                  <a:lnTo>
                    <a:pt x="1002" y="2822"/>
                  </a:lnTo>
                  <a:lnTo>
                    <a:pt x="939" y="2846"/>
                  </a:lnTo>
                  <a:lnTo>
                    <a:pt x="873" y="2868"/>
                  </a:lnTo>
                  <a:lnTo>
                    <a:pt x="802" y="2889"/>
                  </a:lnTo>
                  <a:lnTo>
                    <a:pt x="727" y="2908"/>
                  </a:lnTo>
                  <a:lnTo>
                    <a:pt x="649" y="2925"/>
                  </a:lnTo>
                  <a:lnTo>
                    <a:pt x="567" y="2940"/>
                  </a:lnTo>
                  <a:lnTo>
                    <a:pt x="482" y="2953"/>
                  </a:lnTo>
                  <a:lnTo>
                    <a:pt x="394" y="2964"/>
                  </a:lnTo>
                  <a:lnTo>
                    <a:pt x="303" y="2972"/>
                  </a:lnTo>
                  <a:lnTo>
                    <a:pt x="210" y="2979"/>
                  </a:lnTo>
                  <a:lnTo>
                    <a:pt x="115" y="2983"/>
                  </a:lnTo>
                  <a:lnTo>
                    <a:pt x="17" y="2984"/>
                  </a:lnTo>
                  <a:lnTo>
                    <a:pt x="0" y="2984"/>
                  </a:lnTo>
                  <a:lnTo>
                    <a:pt x="0" y="0"/>
                  </a:lnTo>
                  <a:close/>
                </a:path>
              </a:pathLst>
            </a:custGeom>
            <a:solidFill>
              <a:srgbClr val="BBBCB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 name="Freeform 8">
              <a:extLst>
                <a:ext uri="{FF2B5EF4-FFF2-40B4-BE49-F238E27FC236}">
                  <a16:creationId xmlns:a16="http://schemas.microsoft.com/office/drawing/2014/main" id="{48266524-68B3-463F-BE0E-C03DE0122C0F}"/>
                </a:ext>
              </a:extLst>
            </p:cNvPr>
            <p:cNvSpPr>
              <a:spLocks/>
            </p:cNvSpPr>
            <p:nvPr/>
          </p:nvSpPr>
          <p:spPr bwMode="auto">
            <a:xfrm>
              <a:off x="6274552" y="4026143"/>
              <a:ext cx="1120919" cy="405853"/>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6" name="Freeform 9">
              <a:extLst>
                <a:ext uri="{FF2B5EF4-FFF2-40B4-BE49-F238E27FC236}">
                  <a16:creationId xmlns:a16="http://schemas.microsoft.com/office/drawing/2014/main" id="{174DA2CB-1378-4818-8673-A31E5635D284}"/>
                </a:ext>
              </a:extLst>
            </p:cNvPr>
            <p:cNvSpPr>
              <a:spLocks/>
            </p:cNvSpPr>
            <p:nvPr/>
          </p:nvSpPr>
          <p:spPr bwMode="auto">
            <a:xfrm>
              <a:off x="6390509" y="4084123"/>
              <a:ext cx="889004" cy="266704"/>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80808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 name="Freeform 10">
              <a:extLst>
                <a:ext uri="{FF2B5EF4-FFF2-40B4-BE49-F238E27FC236}">
                  <a16:creationId xmlns:a16="http://schemas.microsoft.com/office/drawing/2014/main" id="{A752B6E4-9014-426F-A2A2-CB418751E620}"/>
                </a:ext>
              </a:extLst>
            </p:cNvPr>
            <p:cNvSpPr>
              <a:spLocks/>
            </p:cNvSpPr>
            <p:nvPr/>
          </p:nvSpPr>
          <p:spPr bwMode="auto">
            <a:xfrm>
              <a:off x="6390509" y="4084123"/>
              <a:ext cx="889004" cy="216454"/>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BBBCB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8" name="Group 17">
            <a:extLst>
              <a:ext uri="{FF2B5EF4-FFF2-40B4-BE49-F238E27FC236}">
                <a16:creationId xmlns:a16="http://schemas.microsoft.com/office/drawing/2014/main" id="{81E87F5F-3690-43A8-9117-9601B8272D16}"/>
              </a:ext>
            </a:extLst>
          </p:cNvPr>
          <p:cNvGrpSpPr/>
          <p:nvPr/>
        </p:nvGrpSpPr>
        <p:grpSpPr>
          <a:xfrm>
            <a:off x="1201026" y="4858309"/>
            <a:ext cx="437431" cy="580170"/>
            <a:chOff x="1201026" y="4953520"/>
            <a:chExt cx="437431" cy="580170"/>
          </a:xfrm>
        </p:grpSpPr>
        <p:sp>
          <p:nvSpPr>
            <p:cNvPr id="19" name="Freeform 6">
              <a:extLst>
                <a:ext uri="{FF2B5EF4-FFF2-40B4-BE49-F238E27FC236}">
                  <a16:creationId xmlns:a16="http://schemas.microsoft.com/office/drawing/2014/main" id="{294A5938-B2BB-4A69-9C25-B944813BCB7E}"/>
                </a:ext>
              </a:extLst>
            </p:cNvPr>
            <p:cNvSpPr>
              <a:spLocks/>
            </p:cNvSpPr>
            <p:nvPr/>
          </p:nvSpPr>
          <p:spPr bwMode="auto">
            <a:xfrm>
              <a:off x="1201026" y="5032085"/>
              <a:ext cx="437430" cy="501605"/>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 name="Freeform 7">
              <a:extLst>
                <a:ext uri="{FF2B5EF4-FFF2-40B4-BE49-F238E27FC236}">
                  <a16:creationId xmlns:a16="http://schemas.microsoft.com/office/drawing/2014/main" id="{AED712E1-588B-498B-B98A-82872E9417AC}"/>
                </a:ext>
              </a:extLst>
            </p:cNvPr>
            <p:cNvSpPr>
              <a:spLocks/>
            </p:cNvSpPr>
            <p:nvPr/>
          </p:nvSpPr>
          <p:spPr bwMode="auto">
            <a:xfrm>
              <a:off x="1416725" y="5032085"/>
              <a:ext cx="221732" cy="501605"/>
            </a:xfrm>
            <a:custGeom>
              <a:avLst/>
              <a:gdLst>
                <a:gd name="T0" fmla="*/ 0 w 1321"/>
                <a:gd name="T1" fmla="*/ 0 h 2984"/>
                <a:gd name="T2" fmla="*/ 1321 w 1321"/>
                <a:gd name="T3" fmla="*/ 0 h 2984"/>
                <a:gd name="T4" fmla="*/ 1321 w 1321"/>
                <a:gd name="T5" fmla="*/ 2512 h 2984"/>
                <a:gd name="T6" fmla="*/ 1318 w 1321"/>
                <a:gd name="T7" fmla="*/ 2547 h 2984"/>
                <a:gd name="T8" fmla="*/ 1308 w 1321"/>
                <a:gd name="T9" fmla="*/ 2582 h 2984"/>
                <a:gd name="T10" fmla="*/ 1290 w 1321"/>
                <a:gd name="T11" fmla="*/ 2615 h 2984"/>
                <a:gd name="T12" fmla="*/ 1266 w 1321"/>
                <a:gd name="T13" fmla="*/ 2648 h 2984"/>
                <a:gd name="T14" fmla="*/ 1236 w 1321"/>
                <a:gd name="T15" fmla="*/ 2680 h 2984"/>
                <a:gd name="T16" fmla="*/ 1200 w 1321"/>
                <a:gd name="T17" fmla="*/ 2711 h 2984"/>
                <a:gd name="T18" fmla="*/ 1159 w 1321"/>
                <a:gd name="T19" fmla="*/ 2740 h 2984"/>
                <a:gd name="T20" fmla="*/ 1112 w 1321"/>
                <a:gd name="T21" fmla="*/ 2769 h 2984"/>
                <a:gd name="T22" fmla="*/ 1058 w 1321"/>
                <a:gd name="T23" fmla="*/ 2795 h 2984"/>
                <a:gd name="T24" fmla="*/ 1002 w 1321"/>
                <a:gd name="T25" fmla="*/ 2822 h 2984"/>
                <a:gd name="T26" fmla="*/ 939 w 1321"/>
                <a:gd name="T27" fmla="*/ 2846 h 2984"/>
                <a:gd name="T28" fmla="*/ 873 w 1321"/>
                <a:gd name="T29" fmla="*/ 2868 h 2984"/>
                <a:gd name="T30" fmla="*/ 802 w 1321"/>
                <a:gd name="T31" fmla="*/ 2889 h 2984"/>
                <a:gd name="T32" fmla="*/ 727 w 1321"/>
                <a:gd name="T33" fmla="*/ 2908 h 2984"/>
                <a:gd name="T34" fmla="*/ 649 w 1321"/>
                <a:gd name="T35" fmla="*/ 2925 h 2984"/>
                <a:gd name="T36" fmla="*/ 567 w 1321"/>
                <a:gd name="T37" fmla="*/ 2940 h 2984"/>
                <a:gd name="T38" fmla="*/ 482 w 1321"/>
                <a:gd name="T39" fmla="*/ 2953 h 2984"/>
                <a:gd name="T40" fmla="*/ 394 w 1321"/>
                <a:gd name="T41" fmla="*/ 2964 h 2984"/>
                <a:gd name="T42" fmla="*/ 303 w 1321"/>
                <a:gd name="T43" fmla="*/ 2972 h 2984"/>
                <a:gd name="T44" fmla="*/ 210 w 1321"/>
                <a:gd name="T45" fmla="*/ 2979 h 2984"/>
                <a:gd name="T46" fmla="*/ 115 w 1321"/>
                <a:gd name="T47" fmla="*/ 2983 h 2984"/>
                <a:gd name="T48" fmla="*/ 17 w 1321"/>
                <a:gd name="T49" fmla="*/ 2984 h 2984"/>
                <a:gd name="T50" fmla="*/ 0 w 1321"/>
                <a:gd name="T51" fmla="*/ 2984 h 2984"/>
                <a:gd name="T52" fmla="*/ 0 w 1321"/>
                <a:gd name="T5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21" h="2984">
                  <a:moveTo>
                    <a:pt x="0" y="0"/>
                  </a:moveTo>
                  <a:lnTo>
                    <a:pt x="1321" y="0"/>
                  </a:lnTo>
                  <a:lnTo>
                    <a:pt x="1321" y="2512"/>
                  </a:lnTo>
                  <a:lnTo>
                    <a:pt x="1318" y="2547"/>
                  </a:lnTo>
                  <a:lnTo>
                    <a:pt x="1308" y="2582"/>
                  </a:lnTo>
                  <a:lnTo>
                    <a:pt x="1290" y="2615"/>
                  </a:lnTo>
                  <a:lnTo>
                    <a:pt x="1266" y="2648"/>
                  </a:lnTo>
                  <a:lnTo>
                    <a:pt x="1236" y="2680"/>
                  </a:lnTo>
                  <a:lnTo>
                    <a:pt x="1200" y="2711"/>
                  </a:lnTo>
                  <a:lnTo>
                    <a:pt x="1159" y="2740"/>
                  </a:lnTo>
                  <a:lnTo>
                    <a:pt x="1112" y="2769"/>
                  </a:lnTo>
                  <a:lnTo>
                    <a:pt x="1058" y="2795"/>
                  </a:lnTo>
                  <a:lnTo>
                    <a:pt x="1002" y="2822"/>
                  </a:lnTo>
                  <a:lnTo>
                    <a:pt x="939" y="2846"/>
                  </a:lnTo>
                  <a:lnTo>
                    <a:pt x="873" y="2868"/>
                  </a:lnTo>
                  <a:lnTo>
                    <a:pt x="802" y="2889"/>
                  </a:lnTo>
                  <a:lnTo>
                    <a:pt x="727" y="2908"/>
                  </a:lnTo>
                  <a:lnTo>
                    <a:pt x="649" y="2925"/>
                  </a:lnTo>
                  <a:lnTo>
                    <a:pt x="567" y="2940"/>
                  </a:lnTo>
                  <a:lnTo>
                    <a:pt x="482" y="2953"/>
                  </a:lnTo>
                  <a:lnTo>
                    <a:pt x="394" y="2964"/>
                  </a:lnTo>
                  <a:lnTo>
                    <a:pt x="303" y="2972"/>
                  </a:lnTo>
                  <a:lnTo>
                    <a:pt x="210" y="2979"/>
                  </a:lnTo>
                  <a:lnTo>
                    <a:pt x="115" y="2983"/>
                  </a:lnTo>
                  <a:lnTo>
                    <a:pt x="17" y="2984"/>
                  </a:lnTo>
                  <a:lnTo>
                    <a:pt x="0" y="2984"/>
                  </a:lnTo>
                  <a:lnTo>
                    <a:pt x="0"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1" name="Freeform 8">
              <a:extLst>
                <a:ext uri="{FF2B5EF4-FFF2-40B4-BE49-F238E27FC236}">
                  <a16:creationId xmlns:a16="http://schemas.microsoft.com/office/drawing/2014/main" id="{53482038-62BB-4B0D-9470-801B9F8D3AC4}"/>
                </a:ext>
              </a:extLst>
            </p:cNvPr>
            <p:cNvSpPr>
              <a:spLocks/>
            </p:cNvSpPr>
            <p:nvPr/>
          </p:nvSpPr>
          <p:spPr bwMode="auto">
            <a:xfrm>
              <a:off x="1201026" y="4953520"/>
              <a:ext cx="437430" cy="158641"/>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 name="Freeform 9">
              <a:extLst>
                <a:ext uri="{FF2B5EF4-FFF2-40B4-BE49-F238E27FC236}">
                  <a16:creationId xmlns:a16="http://schemas.microsoft.com/office/drawing/2014/main" id="{529276F1-E956-4C63-A914-5AFB19BD5356}"/>
                </a:ext>
              </a:extLst>
            </p:cNvPr>
            <p:cNvSpPr>
              <a:spLocks/>
            </p:cNvSpPr>
            <p:nvPr/>
          </p:nvSpPr>
          <p:spPr bwMode="auto">
            <a:xfrm>
              <a:off x="1246277" y="4976183"/>
              <a:ext cx="346927" cy="104250"/>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3" name="Freeform 10">
              <a:extLst>
                <a:ext uri="{FF2B5EF4-FFF2-40B4-BE49-F238E27FC236}">
                  <a16:creationId xmlns:a16="http://schemas.microsoft.com/office/drawing/2014/main" id="{0BDD4936-4B51-4739-AF00-99237C8E48DC}"/>
                </a:ext>
              </a:extLst>
            </p:cNvPr>
            <p:cNvSpPr>
              <a:spLocks/>
            </p:cNvSpPr>
            <p:nvPr/>
          </p:nvSpPr>
          <p:spPr bwMode="auto">
            <a:xfrm>
              <a:off x="1246277" y="4976183"/>
              <a:ext cx="346927" cy="84608"/>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4" name="Group 23">
            <a:extLst>
              <a:ext uri="{FF2B5EF4-FFF2-40B4-BE49-F238E27FC236}">
                <a16:creationId xmlns:a16="http://schemas.microsoft.com/office/drawing/2014/main" id="{19B74C73-45E3-4921-BD82-419EE06BE88E}"/>
              </a:ext>
            </a:extLst>
          </p:cNvPr>
          <p:cNvGrpSpPr/>
          <p:nvPr/>
        </p:nvGrpSpPr>
        <p:grpSpPr>
          <a:xfrm>
            <a:off x="1800391" y="4757748"/>
            <a:ext cx="513251" cy="680731"/>
            <a:chOff x="1800391" y="4852959"/>
            <a:chExt cx="513251" cy="680731"/>
          </a:xfrm>
        </p:grpSpPr>
        <p:sp>
          <p:nvSpPr>
            <p:cNvPr id="25" name="Freeform 6">
              <a:extLst>
                <a:ext uri="{FF2B5EF4-FFF2-40B4-BE49-F238E27FC236}">
                  <a16:creationId xmlns:a16="http://schemas.microsoft.com/office/drawing/2014/main" id="{4A1D8198-B0AC-4889-B674-03C05C85330F}"/>
                </a:ext>
              </a:extLst>
            </p:cNvPr>
            <p:cNvSpPr>
              <a:spLocks/>
            </p:cNvSpPr>
            <p:nvPr/>
          </p:nvSpPr>
          <p:spPr bwMode="auto">
            <a:xfrm>
              <a:off x="1800391" y="4945141"/>
              <a:ext cx="513250" cy="588549"/>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6" name="Freeform 7">
              <a:extLst>
                <a:ext uri="{FF2B5EF4-FFF2-40B4-BE49-F238E27FC236}">
                  <a16:creationId xmlns:a16="http://schemas.microsoft.com/office/drawing/2014/main" id="{4AB85DB8-D5AF-4DD7-8A85-5D0F8757EC91}"/>
                </a:ext>
              </a:extLst>
            </p:cNvPr>
            <p:cNvSpPr>
              <a:spLocks/>
            </p:cNvSpPr>
            <p:nvPr/>
          </p:nvSpPr>
          <p:spPr bwMode="auto">
            <a:xfrm>
              <a:off x="2053477" y="4945141"/>
              <a:ext cx="260165" cy="588549"/>
            </a:xfrm>
            <a:custGeom>
              <a:avLst/>
              <a:gdLst>
                <a:gd name="T0" fmla="*/ 0 w 1321"/>
                <a:gd name="T1" fmla="*/ 0 h 2984"/>
                <a:gd name="T2" fmla="*/ 1321 w 1321"/>
                <a:gd name="T3" fmla="*/ 0 h 2984"/>
                <a:gd name="T4" fmla="*/ 1321 w 1321"/>
                <a:gd name="T5" fmla="*/ 2512 h 2984"/>
                <a:gd name="T6" fmla="*/ 1318 w 1321"/>
                <a:gd name="T7" fmla="*/ 2547 h 2984"/>
                <a:gd name="T8" fmla="*/ 1308 w 1321"/>
                <a:gd name="T9" fmla="*/ 2582 h 2984"/>
                <a:gd name="T10" fmla="*/ 1290 w 1321"/>
                <a:gd name="T11" fmla="*/ 2615 h 2984"/>
                <a:gd name="T12" fmla="*/ 1266 w 1321"/>
                <a:gd name="T13" fmla="*/ 2648 h 2984"/>
                <a:gd name="T14" fmla="*/ 1236 w 1321"/>
                <a:gd name="T15" fmla="*/ 2680 h 2984"/>
                <a:gd name="T16" fmla="*/ 1200 w 1321"/>
                <a:gd name="T17" fmla="*/ 2711 h 2984"/>
                <a:gd name="T18" fmla="*/ 1159 w 1321"/>
                <a:gd name="T19" fmla="*/ 2740 h 2984"/>
                <a:gd name="T20" fmla="*/ 1112 w 1321"/>
                <a:gd name="T21" fmla="*/ 2769 h 2984"/>
                <a:gd name="T22" fmla="*/ 1058 w 1321"/>
                <a:gd name="T23" fmla="*/ 2795 h 2984"/>
                <a:gd name="T24" fmla="*/ 1002 w 1321"/>
                <a:gd name="T25" fmla="*/ 2822 h 2984"/>
                <a:gd name="T26" fmla="*/ 939 w 1321"/>
                <a:gd name="T27" fmla="*/ 2846 h 2984"/>
                <a:gd name="T28" fmla="*/ 873 w 1321"/>
                <a:gd name="T29" fmla="*/ 2868 h 2984"/>
                <a:gd name="T30" fmla="*/ 802 w 1321"/>
                <a:gd name="T31" fmla="*/ 2889 h 2984"/>
                <a:gd name="T32" fmla="*/ 727 w 1321"/>
                <a:gd name="T33" fmla="*/ 2908 h 2984"/>
                <a:gd name="T34" fmla="*/ 649 w 1321"/>
                <a:gd name="T35" fmla="*/ 2925 h 2984"/>
                <a:gd name="T36" fmla="*/ 567 w 1321"/>
                <a:gd name="T37" fmla="*/ 2940 h 2984"/>
                <a:gd name="T38" fmla="*/ 482 w 1321"/>
                <a:gd name="T39" fmla="*/ 2953 h 2984"/>
                <a:gd name="T40" fmla="*/ 394 w 1321"/>
                <a:gd name="T41" fmla="*/ 2964 h 2984"/>
                <a:gd name="T42" fmla="*/ 303 w 1321"/>
                <a:gd name="T43" fmla="*/ 2972 h 2984"/>
                <a:gd name="T44" fmla="*/ 210 w 1321"/>
                <a:gd name="T45" fmla="*/ 2979 h 2984"/>
                <a:gd name="T46" fmla="*/ 115 w 1321"/>
                <a:gd name="T47" fmla="*/ 2983 h 2984"/>
                <a:gd name="T48" fmla="*/ 17 w 1321"/>
                <a:gd name="T49" fmla="*/ 2984 h 2984"/>
                <a:gd name="T50" fmla="*/ 0 w 1321"/>
                <a:gd name="T51" fmla="*/ 2984 h 2984"/>
                <a:gd name="T52" fmla="*/ 0 w 1321"/>
                <a:gd name="T5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21" h="2984">
                  <a:moveTo>
                    <a:pt x="0" y="0"/>
                  </a:moveTo>
                  <a:lnTo>
                    <a:pt x="1321" y="0"/>
                  </a:lnTo>
                  <a:lnTo>
                    <a:pt x="1321" y="2512"/>
                  </a:lnTo>
                  <a:lnTo>
                    <a:pt x="1318" y="2547"/>
                  </a:lnTo>
                  <a:lnTo>
                    <a:pt x="1308" y="2582"/>
                  </a:lnTo>
                  <a:lnTo>
                    <a:pt x="1290" y="2615"/>
                  </a:lnTo>
                  <a:lnTo>
                    <a:pt x="1266" y="2648"/>
                  </a:lnTo>
                  <a:lnTo>
                    <a:pt x="1236" y="2680"/>
                  </a:lnTo>
                  <a:lnTo>
                    <a:pt x="1200" y="2711"/>
                  </a:lnTo>
                  <a:lnTo>
                    <a:pt x="1159" y="2740"/>
                  </a:lnTo>
                  <a:lnTo>
                    <a:pt x="1112" y="2769"/>
                  </a:lnTo>
                  <a:lnTo>
                    <a:pt x="1058" y="2795"/>
                  </a:lnTo>
                  <a:lnTo>
                    <a:pt x="1002" y="2822"/>
                  </a:lnTo>
                  <a:lnTo>
                    <a:pt x="939" y="2846"/>
                  </a:lnTo>
                  <a:lnTo>
                    <a:pt x="873" y="2868"/>
                  </a:lnTo>
                  <a:lnTo>
                    <a:pt x="802" y="2889"/>
                  </a:lnTo>
                  <a:lnTo>
                    <a:pt x="727" y="2908"/>
                  </a:lnTo>
                  <a:lnTo>
                    <a:pt x="649" y="2925"/>
                  </a:lnTo>
                  <a:lnTo>
                    <a:pt x="567" y="2940"/>
                  </a:lnTo>
                  <a:lnTo>
                    <a:pt x="482" y="2953"/>
                  </a:lnTo>
                  <a:lnTo>
                    <a:pt x="394" y="2964"/>
                  </a:lnTo>
                  <a:lnTo>
                    <a:pt x="303" y="2972"/>
                  </a:lnTo>
                  <a:lnTo>
                    <a:pt x="210" y="2979"/>
                  </a:lnTo>
                  <a:lnTo>
                    <a:pt x="115" y="2983"/>
                  </a:lnTo>
                  <a:lnTo>
                    <a:pt x="17" y="2984"/>
                  </a:lnTo>
                  <a:lnTo>
                    <a:pt x="0" y="2984"/>
                  </a:lnTo>
                  <a:lnTo>
                    <a:pt x="0"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7" name="Freeform 8">
              <a:extLst>
                <a:ext uri="{FF2B5EF4-FFF2-40B4-BE49-F238E27FC236}">
                  <a16:creationId xmlns:a16="http://schemas.microsoft.com/office/drawing/2014/main" id="{AF9DFA69-2C4B-493C-AF35-CB444CAF9576}"/>
                </a:ext>
              </a:extLst>
            </p:cNvPr>
            <p:cNvSpPr>
              <a:spLocks/>
            </p:cNvSpPr>
            <p:nvPr/>
          </p:nvSpPr>
          <p:spPr bwMode="auto">
            <a:xfrm>
              <a:off x="1800391" y="4852959"/>
              <a:ext cx="513250" cy="186138"/>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8" name="Freeform 9">
              <a:extLst>
                <a:ext uri="{FF2B5EF4-FFF2-40B4-BE49-F238E27FC236}">
                  <a16:creationId xmlns:a16="http://schemas.microsoft.com/office/drawing/2014/main" id="{A3C11083-4BA3-4970-951F-AE33BB299A28}"/>
                </a:ext>
              </a:extLst>
            </p:cNvPr>
            <p:cNvSpPr>
              <a:spLocks/>
            </p:cNvSpPr>
            <p:nvPr/>
          </p:nvSpPr>
          <p:spPr bwMode="auto">
            <a:xfrm>
              <a:off x="1853486" y="4879551"/>
              <a:ext cx="407060" cy="122319"/>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9" name="Freeform 10">
              <a:extLst>
                <a:ext uri="{FF2B5EF4-FFF2-40B4-BE49-F238E27FC236}">
                  <a16:creationId xmlns:a16="http://schemas.microsoft.com/office/drawing/2014/main" id="{38C543B5-5751-47CE-82D9-2A0D94F50017}"/>
                </a:ext>
              </a:extLst>
            </p:cNvPr>
            <p:cNvSpPr>
              <a:spLocks/>
            </p:cNvSpPr>
            <p:nvPr/>
          </p:nvSpPr>
          <p:spPr bwMode="auto">
            <a:xfrm>
              <a:off x="1853486" y="4879551"/>
              <a:ext cx="407060" cy="99273"/>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30" name="Group 29">
            <a:extLst>
              <a:ext uri="{FF2B5EF4-FFF2-40B4-BE49-F238E27FC236}">
                <a16:creationId xmlns:a16="http://schemas.microsoft.com/office/drawing/2014/main" id="{BD67493D-5D1E-4662-9B1D-35E42416B027}"/>
              </a:ext>
            </a:extLst>
          </p:cNvPr>
          <p:cNvGrpSpPr/>
          <p:nvPr/>
        </p:nvGrpSpPr>
        <p:grpSpPr>
          <a:xfrm>
            <a:off x="2475576" y="4672655"/>
            <a:ext cx="577408" cy="765824"/>
            <a:chOff x="2475576" y="4767866"/>
            <a:chExt cx="577408" cy="765824"/>
          </a:xfrm>
        </p:grpSpPr>
        <p:sp>
          <p:nvSpPr>
            <p:cNvPr id="31" name="Freeform 6">
              <a:extLst>
                <a:ext uri="{FF2B5EF4-FFF2-40B4-BE49-F238E27FC236}">
                  <a16:creationId xmlns:a16="http://schemas.microsoft.com/office/drawing/2014/main" id="{18C7A799-E722-4E37-8AD9-13D83D6F42A1}"/>
                </a:ext>
              </a:extLst>
            </p:cNvPr>
            <p:cNvSpPr>
              <a:spLocks/>
            </p:cNvSpPr>
            <p:nvPr/>
          </p:nvSpPr>
          <p:spPr bwMode="auto">
            <a:xfrm>
              <a:off x="2475576" y="4871571"/>
              <a:ext cx="577407" cy="662119"/>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2" name="Freeform 7">
              <a:extLst>
                <a:ext uri="{FF2B5EF4-FFF2-40B4-BE49-F238E27FC236}">
                  <a16:creationId xmlns:a16="http://schemas.microsoft.com/office/drawing/2014/main" id="{29D7F73F-4781-4D57-BB0F-4C1B6626935C}"/>
                </a:ext>
              </a:extLst>
            </p:cNvPr>
            <p:cNvSpPr>
              <a:spLocks/>
            </p:cNvSpPr>
            <p:nvPr/>
          </p:nvSpPr>
          <p:spPr bwMode="auto">
            <a:xfrm>
              <a:off x="2760298" y="4871571"/>
              <a:ext cx="292686" cy="662119"/>
            </a:xfrm>
            <a:custGeom>
              <a:avLst/>
              <a:gdLst>
                <a:gd name="T0" fmla="*/ 0 w 1321"/>
                <a:gd name="T1" fmla="*/ 0 h 2984"/>
                <a:gd name="T2" fmla="*/ 1321 w 1321"/>
                <a:gd name="T3" fmla="*/ 0 h 2984"/>
                <a:gd name="T4" fmla="*/ 1321 w 1321"/>
                <a:gd name="T5" fmla="*/ 2512 h 2984"/>
                <a:gd name="T6" fmla="*/ 1318 w 1321"/>
                <a:gd name="T7" fmla="*/ 2547 h 2984"/>
                <a:gd name="T8" fmla="*/ 1308 w 1321"/>
                <a:gd name="T9" fmla="*/ 2582 h 2984"/>
                <a:gd name="T10" fmla="*/ 1290 w 1321"/>
                <a:gd name="T11" fmla="*/ 2615 h 2984"/>
                <a:gd name="T12" fmla="*/ 1266 w 1321"/>
                <a:gd name="T13" fmla="*/ 2648 h 2984"/>
                <a:gd name="T14" fmla="*/ 1236 w 1321"/>
                <a:gd name="T15" fmla="*/ 2680 h 2984"/>
                <a:gd name="T16" fmla="*/ 1200 w 1321"/>
                <a:gd name="T17" fmla="*/ 2711 h 2984"/>
                <a:gd name="T18" fmla="*/ 1159 w 1321"/>
                <a:gd name="T19" fmla="*/ 2740 h 2984"/>
                <a:gd name="T20" fmla="*/ 1112 w 1321"/>
                <a:gd name="T21" fmla="*/ 2769 h 2984"/>
                <a:gd name="T22" fmla="*/ 1058 w 1321"/>
                <a:gd name="T23" fmla="*/ 2795 h 2984"/>
                <a:gd name="T24" fmla="*/ 1002 w 1321"/>
                <a:gd name="T25" fmla="*/ 2822 h 2984"/>
                <a:gd name="T26" fmla="*/ 939 w 1321"/>
                <a:gd name="T27" fmla="*/ 2846 h 2984"/>
                <a:gd name="T28" fmla="*/ 873 w 1321"/>
                <a:gd name="T29" fmla="*/ 2868 h 2984"/>
                <a:gd name="T30" fmla="*/ 802 w 1321"/>
                <a:gd name="T31" fmla="*/ 2889 h 2984"/>
                <a:gd name="T32" fmla="*/ 727 w 1321"/>
                <a:gd name="T33" fmla="*/ 2908 h 2984"/>
                <a:gd name="T34" fmla="*/ 649 w 1321"/>
                <a:gd name="T35" fmla="*/ 2925 h 2984"/>
                <a:gd name="T36" fmla="*/ 567 w 1321"/>
                <a:gd name="T37" fmla="*/ 2940 h 2984"/>
                <a:gd name="T38" fmla="*/ 482 w 1321"/>
                <a:gd name="T39" fmla="*/ 2953 h 2984"/>
                <a:gd name="T40" fmla="*/ 394 w 1321"/>
                <a:gd name="T41" fmla="*/ 2964 h 2984"/>
                <a:gd name="T42" fmla="*/ 303 w 1321"/>
                <a:gd name="T43" fmla="*/ 2972 h 2984"/>
                <a:gd name="T44" fmla="*/ 210 w 1321"/>
                <a:gd name="T45" fmla="*/ 2979 h 2984"/>
                <a:gd name="T46" fmla="*/ 115 w 1321"/>
                <a:gd name="T47" fmla="*/ 2983 h 2984"/>
                <a:gd name="T48" fmla="*/ 17 w 1321"/>
                <a:gd name="T49" fmla="*/ 2984 h 2984"/>
                <a:gd name="T50" fmla="*/ 0 w 1321"/>
                <a:gd name="T51" fmla="*/ 2984 h 2984"/>
                <a:gd name="T52" fmla="*/ 0 w 1321"/>
                <a:gd name="T5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21" h="2984">
                  <a:moveTo>
                    <a:pt x="0" y="0"/>
                  </a:moveTo>
                  <a:lnTo>
                    <a:pt x="1321" y="0"/>
                  </a:lnTo>
                  <a:lnTo>
                    <a:pt x="1321" y="2512"/>
                  </a:lnTo>
                  <a:lnTo>
                    <a:pt x="1318" y="2547"/>
                  </a:lnTo>
                  <a:lnTo>
                    <a:pt x="1308" y="2582"/>
                  </a:lnTo>
                  <a:lnTo>
                    <a:pt x="1290" y="2615"/>
                  </a:lnTo>
                  <a:lnTo>
                    <a:pt x="1266" y="2648"/>
                  </a:lnTo>
                  <a:lnTo>
                    <a:pt x="1236" y="2680"/>
                  </a:lnTo>
                  <a:lnTo>
                    <a:pt x="1200" y="2711"/>
                  </a:lnTo>
                  <a:lnTo>
                    <a:pt x="1159" y="2740"/>
                  </a:lnTo>
                  <a:lnTo>
                    <a:pt x="1112" y="2769"/>
                  </a:lnTo>
                  <a:lnTo>
                    <a:pt x="1058" y="2795"/>
                  </a:lnTo>
                  <a:lnTo>
                    <a:pt x="1002" y="2822"/>
                  </a:lnTo>
                  <a:lnTo>
                    <a:pt x="939" y="2846"/>
                  </a:lnTo>
                  <a:lnTo>
                    <a:pt x="873" y="2868"/>
                  </a:lnTo>
                  <a:lnTo>
                    <a:pt x="802" y="2889"/>
                  </a:lnTo>
                  <a:lnTo>
                    <a:pt x="727" y="2908"/>
                  </a:lnTo>
                  <a:lnTo>
                    <a:pt x="649" y="2925"/>
                  </a:lnTo>
                  <a:lnTo>
                    <a:pt x="567" y="2940"/>
                  </a:lnTo>
                  <a:lnTo>
                    <a:pt x="482" y="2953"/>
                  </a:lnTo>
                  <a:lnTo>
                    <a:pt x="394" y="2964"/>
                  </a:lnTo>
                  <a:lnTo>
                    <a:pt x="303" y="2972"/>
                  </a:lnTo>
                  <a:lnTo>
                    <a:pt x="210" y="2979"/>
                  </a:lnTo>
                  <a:lnTo>
                    <a:pt x="115" y="2983"/>
                  </a:lnTo>
                  <a:lnTo>
                    <a:pt x="17" y="2984"/>
                  </a:lnTo>
                  <a:lnTo>
                    <a:pt x="0" y="2984"/>
                  </a:lnTo>
                  <a:lnTo>
                    <a:pt x="0"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3" name="Freeform 8">
              <a:extLst>
                <a:ext uri="{FF2B5EF4-FFF2-40B4-BE49-F238E27FC236}">
                  <a16:creationId xmlns:a16="http://schemas.microsoft.com/office/drawing/2014/main" id="{41CF10AE-04F5-4D51-BCAC-8FCB45164585}"/>
                </a:ext>
              </a:extLst>
            </p:cNvPr>
            <p:cNvSpPr>
              <a:spLocks/>
            </p:cNvSpPr>
            <p:nvPr/>
          </p:nvSpPr>
          <p:spPr bwMode="auto">
            <a:xfrm>
              <a:off x="2475576" y="4767866"/>
              <a:ext cx="577407" cy="209405"/>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4" name="Freeform 9">
              <a:extLst>
                <a:ext uri="{FF2B5EF4-FFF2-40B4-BE49-F238E27FC236}">
                  <a16:creationId xmlns:a16="http://schemas.microsoft.com/office/drawing/2014/main" id="{32FBAACA-A218-47AE-BD9F-18815DE7B4A2}"/>
                </a:ext>
              </a:extLst>
            </p:cNvPr>
            <p:cNvSpPr>
              <a:spLocks/>
            </p:cNvSpPr>
            <p:nvPr/>
          </p:nvSpPr>
          <p:spPr bwMode="auto">
            <a:xfrm>
              <a:off x="2535308" y="4797782"/>
              <a:ext cx="457943" cy="137610"/>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5" name="Freeform 10">
              <a:extLst>
                <a:ext uri="{FF2B5EF4-FFF2-40B4-BE49-F238E27FC236}">
                  <a16:creationId xmlns:a16="http://schemas.microsoft.com/office/drawing/2014/main" id="{03F45622-41AC-4E86-88F7-759A43EB3FCF}"/>
                </a:ext>
              </a:extLst>
            </p:cNvPr>
            <p:cNvSpPr>
              <a:spLocks/>
            </p:cNvSpPr>
            <p:nvPr/>
          </p:nvSpPr>
          <p:spPr bwMode="auto">
            <a:xfrm>
              <a:off x="2535308" y="4797782"/>
              <a:ext cx="457943" cy="111682"/>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36" name="Group 35">
            <a:extLst>
              <a:ext uri="{FF2B5EF4-FFF2-40B4-BE49-F238E27FC236}">
                <a16:creationId xmlns:a16="http://schemas.microsoft.com/office/drawing/2014/main" id="{66DF8DCE-55F8-4610-B987-920183490173}"/>
              </a:ext>
            </a:extLst>
          </p:cNvPr>
          <p:cNvGrpSpPr/>
          <p:nvPr/>
        </p:nvGrpSpPr>
        <p:grpSpPr>
          <a:xfrm>
            <a:off x="3214919" y="4530836"/>
            <a:ext cx="684335" cy="907643"/>
            <a:chOff x="3214919" y="4626047"/>
            <a:chExt cx="684335" cy="907643"/>
          </a:xfrm>
        </p:grpSpPr>
        <p:sp>
          <p:nvSpPr>
            <p:cNvPr id="37" name="Freeform 6">
              <a:extLst>
                <a:ext uri="{FF2B5EF4-FFF2-40B4-BE49-F238E27FC236}">
                  <a16:creationId xmlns:a16="http://schemas.microsoft.com/office/drawing/2014/main" id="{8A59E556-8B98-471A-AFC3-663F1F8862D3}"/>
                </a:ext>
              </a:extLst>
            </p:cNvPr>
            <p:cNvSpPr>
              <a:spLocks/>
            </p:cNvSpPr>
            <p:nvPr/>
          </p:nvSpPr>
          <p:spPr bwMode="auto">
            <a:xfrm>
              <a:off x="3214919" y="4748957"/>
              <a:ext cx="684334" cy="784733"/>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8" name="Freeform 7">
              <a:extLst>
                <a:ext uri="{FF2B5EF4-FFF2-40B4-BE49-F238E27FC236}">
                  <a16:creationId xmlns:a16="http://schemas.microsoft.com/office/drawing/2014/main" id="{D4021019-5870-4DBD-B26E-28AC34BCA61C}"/>
                </a:ext>
              </a:extLst>
            </p:cNvPr>
            <p:cNvSpPr>
              <a:spLocks/>
            </p:cNvSpPr>
            <p:nvPr/>
          </p:nvSpPr>
          <p:spPr bwMode="auto">
            <a:xfrm>
              <a:off x="3552367" y="4748957"/>
              <a:ext cx="346887" cy="784733"/>
            </a:xfrm>
            <a:custGeom>
              <a:avLst/>
              <a:gdLst>
                <a:gd name="T0" fmla="*/ 0 w 1321"/>
                <a:gd name="T1" fmla="*/ 0 h 2984"/>
                <a:gd name="T2" fmla="*/ 1321 w 1321"/>
                <a:gd name="T3" fmla="*/ 0 h 2984"/>
                <a:gd name="T4" fmla="*/ 1321 w 1321"/>
                <a:gd name="T5" fmla="*/ 2512 h 2984"/>
                <a:gd name="T6" fmla="*/ 1318 w 1321"/>
                <a:gd name="T7" fmla="*/ 2547 h 2984"/>
                <a:gd name="T8" fmla="*/ 1308 w 1321"/>
                <a:gd name="T9" fmla="*/ 2582 h 2984"/>
                <a:gd name="T10" fmla="*/ 1290 w 1321"/>
                <a:gd name="T11" fmla="*/ 2615 h 2984"/>
                <a:gd name="T12" fmla="*/ 1266 w 1321"/>
                <a:gd name="T13" fmla="*/ 2648 h 2984"/>
                <a:gd name="T14" fmla="*/ 1236 w 1321"/>
                <a:gd name="T15" fmla="*/ 2680 h 2984"/>
                <a:gd name="T16" fmla="*/ 1200 w 1321"/>
                <a:gd name="T17" fmla="*/ 2711 h 2984"/>
                <a:gd name="T18" fmla="*/ 1159 w 1321"/>
                <a:gd name="T19" fmla="*/ 2740 h 2984"/>
                <a:gd name="T20" fmla="*/ 1112 w 1321"/>
                <a:gd name="T21" fmla="*/ 2769 h 2984"/>
                <a:gd name="T22" fmla="*/ 1058 w 1321"/>
                <a:gd name="T23" fmla="*/ 2795 h 2984"/>
                <a:gd name="T24" fmla="*/ 1002 w 1321"/>
                <a:gd name="T25" fmla="*/ 2822 h 2984"/>
                <a:gd name="T26" fmla="*/ 939 w 1321"/>
                <a:gd name="T27" fmla="*/ 2846 h 2984"/>
                <a:gd name="T28" fmla="*/ 873 w 1321"/>
                <a:gd name="T29" fmla="*/ 2868 h 2984"/>
                <a:gd name="T30" fmla="*/ 802 w 1321"/>
                <a:gd name="T31" fmla="*/ 2889 h 2984"/>
                <a:gd name="T32" fmla="*/ 727 w 1321"/>
                <a:gd name="T33" fmla="*/ 2908 h 2984"/>
                <a:gd name="T34" fmla="*/ 649 w 1321"/>
                <a:gd name="T35" fmla="*/ 2925 h 2984"/>
                <a:gd name="T36" fmla="*/ 567 w 1321"/>
                <a:gd name="T37" fmla="*/ 2940 h 2984"/>
                <a:gd name="T38" fmla="*/ 482 w 1321"/>
                <a:gd name="T39" fmla="*/ 2953 h 2984"/>
                <a:gd name="T40" fmla="*/ 394 w 1321"/>
                <a:gd name="T41" fmla="*/ 2964 h 2984"/>
                <a:gd name="T42" fmla="*/ 303 w 1321"/>
                <a:gd name="T43" fmla="*/ 2972 h 2984"/>
                <a:gd name="T44" fmla="*/ 210 w 1321"/>
                <a:gd name="T45" fmla="*/ 2979 h 2984"/>
                <a:gd name="T46" fmla="*/ 115 w 1321"/>
                <a:gd name="T47" fmla="*/ 2983 h 2984"/>
                <a:gd name="T48" fmla="*/ 17 w 1321"/>
                <a:gd name="T49" fmla="*/ 2984 h 2984"/>
                <a:gd name="T50" fmla="*/ 0 w 1321"/>
                <a:gd name="T51" fmla="*/ 2984 h 2984"/>
                <a:gd name="T52" fmla="*/ 0 w 1321"/>
                <a:gd name="T5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21" h="2984">
                  <a:moveTo>
                    <a:pt x="0" y="0"/>
                  </a:moveTo>
                  <a:lnTo>
                    <a:pt x="1321" y="0"/>
                  </a:lnTo>
                  <a:lnTo>
                    <a:pt x="1321" y="2512"/>
                  </a:lnTo>
                  <a:lnTo>
                    <a:pt x="1318" y="2547"/>
                  </a:lnTo>
                  <a:lnTo>
                    <a:pt x="1308" y="2582"/>
                  </a:lnTo>
                  <a:lnTo>
                    <a:pt x="1290" y="2615"/>
                  </a:lnTo>
                  <a:lnTo>
                    <a:pt x="1266" y="2648"/>
                  </a:lnTo>
                  <a:lnTo>
                    <a:pt x="1236" y="2680"/>
                  </a:lnTo>
                  <a:lnTo>
                    <a:pt x="1200" y="2711"/>
                  </a:lnTo>
                  <a:lnTo>
                    <a:pt x="1159" y="2740"/>
                  </a:lnTo>
                  <a:lnTo>
                    <a:pt x="1112" y="2769"/>
                  </a:lnTo>
                  <a:lnTo>
                    <a:pt x="1058" y="2795"/>
                  </a:lnTo>
                  <a:lnTo>
                    <a:pt x="1002" y="2822"/>
                  </a:lnTo>
                  <a:lnTo>
                    <a:pt x="939" y="2846"/>
                  </a:lnTo>
                  <a:lnTo>
                    <a:pt x="873" y="2868"/>
                  </a:lnTo>
                  <a:lnTo>
                    <a:pt x="802" y="2889"/>
                  </a:lnTo>
                  <a:lnTo>
                    <a:pt x="727" y="2908"/>
                  </a:lnTo>
                  <a:lnTo>
                    <a:pt x="649" y="2925"/>
                  </a:lnTo>
                  <a:lnTo>
                    <a:pt x="567" y="2940"/>
                  </a:lnTo>
                  <a:lnTo>
                    <a:pt x="482" y="2953"/>
                  </a:lnTo>
                  <a:lnTo>
                    <a:pt x="394" y="2964"/>
                  </a:lnTo>
                  <a:lnTo>
                    <a:pt x="303" y="2972"/>
                  </a:lnTo>
                  <a:lnTo>
                    <a:pt x="210" y="2979"/>
                  </a:lnTo>
                  <a:lnTo>
                    <a:pt x="115" y="2983"/>
                  </a:lnTo>
                  <a:lnTo>
                    <a:pt x="17" y="2984"/>
                  </a:lnTo>
                  <a:lnTo>
                    <a:pt x="0" y="2984"/>
                  </a:lnTo>
                  <a:lnTo>
                    <a:pt x="0"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9" name="Freeform 8">
              <a:extLst>
                <a:ext uri="{FF2B5EF4-FFF2-40B4-BE49-F238E27FC236}">
                  <a16:creationId xmlns:a16="http://schemas.microsoft.com/office/drawing/2014/main" id="{8C9EEF24-5B12-439A-9DB8-9623C9A440E4}"/>
                </a:ext>
              </a:extLst>
            </p:cNvPr>
            <p:cNvSpPr>
              <a:spLocks/>
            </p:cNvSpPr>
            <p:nvPr/>
          </p:nvSpPr>
          <p:spPr bwMode="auto">
            <a:xfrm>
              <a:off x="3214919" y="4626047"/>
              <a:ext cx="684334" cy="248184"/>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0" name="Freeform 9">
              <a:extLst>
                <a:ext uri="{FF2B5EF4-FFF2-40B4-BE49-F238E27FC236}">
                  <a16:creationId xmlns:a16="http://schemas.microsoft.com/office/drawing/2014/main" id="{96617811-861A-42F6-8F27-F54355A05197}"/>
                </a:ext>
              </a:extLst>
            </p:cNvPr>
            <p:cNvSpPr>
              <a:spLocks/>
            </p:cNvSpPr>
            <p:nvPr/>
          </p:nvSpPr>
          <p:spPr bwMode="auto">
            <a:xfrm>
              <a:off x="3285712" y="4661502"/>
              <a:ext cx="542747" cy="163093"/>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1" name="Freeform 10">
              <a:extLst>
                <a:ext uri="{FF2B5EF4-FFF2-40B4-BE49-F238E27FC236}">
                  <a16:creationId xmlns:a16="http://schemas.microsoft.com/office/drawing/2014/main" id="{98C335A4-4987-4E8C-830C-FA6B2528BFF4}"/>
                </a:ext>
              </a:extLst>
            </p:cNvPr>
            <p:cNvSpPr>
              <a:spLocks/>
            </p:cNvSpPr>
            <p:nvPr/>
          </p:nvSpPr>
          <p:spPr bwMode="auto">
            <a:xfrm>
              <a:off x="3285712" y="4661502"/>
              <a:ext cx="542747" cy="132364"/>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42" name="Group 41">
            <a:extLst>
              <a:ext uri="{FF2B5EF4-FFF2-40B4-BE49-F238E27FC236}">
                <a16:creationId xmlns:a16="http://schemas.microsoft.com/office/drawing/2014/main" id="{C910A9D8-293B-481D-A65C-27EAF82F51BC}"/>
              </a:ext>
            </a:extLst>
          </p:cNvPr>
          <p:cNvGrpSpPr/>
          <p:nvPr/>
        </p:nvGrpSpPr>
        <p:grpSpPr>
          <a:xfrm>
            <a:off x="4153188" y="4417379"/>
            <a:ext cx="769877" cy="1021100"/>
            <a:chOff x="4153188" y="4512590"/>
            <a:chExt cx="769877" cy="1021100"/>
          </a:xfrm>
        </p:grpSpPr>
        <p:sp>
          <p:nvSpPr>
            <p:cNvPr id="43" name="Freeform 6">
              <a:extLst>
                <a:ext uri="{FF2B5EF4-FFF2-40B4-BE49-F238E27FC236}">
                  <a16:creationId xmlns:a16="http://schemas.microsoft.com/office/drawing/2014/main" id="{13FC5E29-AE8D-4EEE-A241-99F6D89D8D25}"/>
                </a:ext>
              </a:extLst>
            </p:cNvPr>
            <p:cNvSpPr>
              <a:spLocks/>
            </p:cNvSpPr>
            <p:nvPr/>
          </p:nvSpPr>
          <p:spPr bwMode="auto">
            <a:xfrm>
              <a:off x="4153188" y="4650864"/>
              <a:ext cx="769876" cy="882826"/>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rgbClr val="107C1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4" name="Freeform 7">
              <a:extLst>
                <a:ext uri="{FF2B5EF4-FFF2-40B4-BE49-F238E27FC236}">
                  <a16:creationId xmlns:a16="http://schemas.microsoft.com/office/drawing/2014/main" id="{7F26B979-523F-4ECC-8123-7D8D2B541FC2}"/>
                </a:ext>
              </a:extLst>
            </p:cNvPr>
            <p:cNvSpPr>
              <a:spLocks/>
            </p:cNvSpPr>
            <p:nvPr/>
          </p:nvSpPr>
          <p:spPr bwMode="auto">
            <a:xfrm>
              <a:off x="4532817" y="4650864"/>
              <a:ext cx="390248" cy="882826"/>
            </a:xfrm>
            <a:custGeom>
              <a:avLst/>
              <a:gdLst>
                <a:gd name="T0" fmla="*/ 0 w 1321"/>
                <a:gd name="T1" fmla="*/ 0 h 2984"/>
                <a:gd name="T2" fmla="*/ 1321 w 1321"/>
                <a:gd name="T3" fmla="*/ 0 h 2984"/>
                <a:gd name="T4" fmla="*/ 1321 w 1321"/>
                <a:gd name="T5" fmla="*/ 2512 h 2984"/>
                <a:gd name="T6" fmla="*/ 1318 w 1321"/>
                <a:gd name="T7" fmla="*/ 2547 h 2984"/>
                <a:gd name="T8" fmla="*/ 1308 w 1321"/>
                <a:gd name="T9" fmla="*/ 2582 h 2984"/>
                <a:gd name="T10" fmla="*/ 1290 w 1321"/>
                <a:gd name="T11" fmla="*/ 2615 h 2984"/>
                <a:gd name="T12" fmla="*/ 1266 w 1321"/>
                <a:gd name="T13" fmla="*/ 2648 h 2984"/>
                <a:gd name="T14" fmla="*/ 1236 w 1321"/>
                <a:gd name="T15" fmla="*/ 2680 h 2984"/>
                <a:gd name="T16" fmla="*/ 1200 w 1321"/>
                <a:gd name="T17" fmla="*/ 2711 h 2984"/>
                <a:gd name="T18" fmla="*/ 1159 w 1321"/>
                <a:gd name="T19" fmla="*/ 2740 h 2984"/>
                <a:gd name="T20" fmla="*/ 1112 w 1321"/>
                <a:gd name="T21" fmla="*/ 2769 h 2984"/>
                <a:gd name="T22" fmla="*/ 1058 w 1321"/>
                <a:gd name="T23" fmla="*/ 2795 h 2984"/>
                <a:gd name="T24" fmla="*/ 1002 w 1321"/>
                <a:gd name="T25" fmla="*/ 2822 h 2984"/>
                <a:gd name="T26" fmla="*/ 939 w 1321"/>
                <a:gd name="T27" fmla="*/ 2846 h 2984"/>
                <a:gd name="T28" fmla="*/ 873 w 1321"/>
                <a:gd name="T29" fmla="*/ 2868 h 2984"/>
                <a:gd name="T30" fmla="*/ 802 w 1321"/>
                <a:gd name="T31" fmla="*/ 2889 h 2984"/>
                <a:gd name="T32" fmla="*/ 727 w 1321"/>
                <a:gd name="T33" fmla="*/ 2908 h 2984"/>
                <a:gd name="T34" fmla="*/ 649 w 1321"/>
                <a:gd name="T35" fmla="*/ 2925 h 2984"/>
                <a:gd name="T36" fmla="*/ 567 w 1321"/>
                <a:gd name="T37" fmla="*/ 2940 h 2984"/>
                <a:gd name="T38" fmla="*/ 482 w 1321"/>
                <a:gd name="T39" fmla="*/ 2953 h 2984"/>
                <a:gd name="T40" fmla="*/ 394 w 1321"/>
                <a:gd name="T41" fmla="*/ 2964 h 2984"/>
                <a:gd name="T42" fmla="*/ 303 w 1321"/>
                <a:gd name="T43" fmla="*/ 2972 h 2984"/>
                <a:gd name="T44" fmla="*/ 210 w 1321"/>
                <a:gd name="T45" fmla="*/ 2979 h 2984"/>
                <a:gd name="T46" fmla="*/ 115 w 1321"/>
                <a:gd name="T47" fmla="*/ 2983 h 2984"/>
                <a:gd name="T48" fmla="*/ 17 w 1321"/>
                <a:gd name="T49" fmla="*/ 2984 h 2984"/>
                <a:gd name="T50" fmla="*/ 0 w 1321"/>
                <a:gd name="T51" fmla="*/ 2984 h 2984"/>
                <a:gd name="T52" fmla="*/ 0 w 1321"/>
                <a:gd name="T5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21" h="2984">
                  <a:moveTo>
                    <a:pt x="0" y="0"/>
                  </a:moveTo>
                  <a:lnTo>
                    <a:pt x="1321" y="0"/>
                  </a:lnTo>
                  <a:lnTo>
                    <a:pt x="1321" y="2512"/>
                  </a:lnTo>
                  <a:lnTo>
                    <a:pt x="1318" y="2547"/>
                  </a:lnTo>
                  <a:lnTo>
                    <a:pt x="1308" y="2582"/>
                  </a:lnTo>
                  <a:lnTo>
                    <a:pt x="1290" y="2615"/>
                  </a:lnTo>
                  <a:lnTo>
                    <a:pt x="1266" y="2648"/>
                  </a:lnTo>
                  <a:lnTo>
                    <a:pt x="1236" y="2680"/>
                  </a:lnTo>
                  <a:lnTo>
                    <a:pt x="1200" y="2711"/>
                  </a:lnTo>
                  <a:lnTo>
                    <a:pt x="1159" y="2740"/>
                  </a:lnTo>
                  <a:lnTo>
                    <a:pt x="1112" y="2769"/>
                  </a:lnTo>
                  <a:lnTo>
                    <a:pt x="1058" y="2795"/>
                  </a:lnTo>
                  <a:lnTo>
                    <a:pt x="1002" y="2822"/>
                  </a:lnTo>
                  <a:lnTo>
                    <a:pt x="939" y="2846"/>
                  </a:lnTo>
                  <a:lnTo>
                    <a:pt x="873" y="2868"/>
                  </a:lnTo>
                  <a:lnTo>
                    <a:pt x="802" y="2889"/>
                  </a:lnTo>
                  <a:lnTo>
                    <a:pt x="727" y="2908"/>
                  </a:lnTo>
                  <a:lnTo>
                    <a:pt x="649" y="2925"/>
                  </a:lnTo>
                  <a:lnTo>
                    <a:pt x="567" y="2940"/>
                  </a:lnTo>
                  <a:lnTo>
                    <a:pt x="482" y="2953"/>
                  </a:lnTo>
                  <a:lnTo>
                    <a:pt x="394" y="2964"/>
                  </a:lnTo>
                  <a:lnTo>
                    <a:pt x="303" y="2972"/>
                  </a:lnTo>
                  <a:lnTo>
                    <a:pt x="210" y="2979"/>
                  </a:lnTo>
                  <a:lnTo>
                    <a:pt x="115" y="2983"/>
                  </a:lnTo>
                  <a:lnTo>
                    <a:pt x="17" y="2984"/>
                  </a:lnTo>
                  <a:lnTo>
                    <a:pt x="0" y="2984"/>
                  </a:lnTo>
                  <a:lnTo>
                    <a:pt x="0" y="0"/>
                  </a:lnTo>
                  <a:close/>
                </a:path>
              </a:pathLst>
            </a:custGeom>
            <a:solidFill>
              <a:srgbClr val="BAD80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5" name="Freeform 8">
              <a:extLst>
                <a:ext uri="{FF2B5EF4-FFF2-40B4-BE49-F238E27FC236}">
                  <a16:creationId xmlns:a16="http://schemas.microsoft.com/office/drawing/2014/main" id="{4A71AF2E-2424-4D6F-BA93-88D2BC959918}"/>
                </a:ext>
              </a:extLst>
            </p:cNvPr>
            <p:cNvSpPr>
              <a:spLocks/>
            </p:cNvSpPr>
            <p:nvPr/>
          </p:nvSpPr>
          <p:spPr bwMode="auto">
            <a:xfrm>
              <a:off x="4153188" y="4512590"/>
              <a:ext cx="769876" cy="279208"/>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6" name="Freeform 9">
              <a:extLst>
                <a:ext uri="{FF2B5EF4-FFF2-40B4-BE49-F238E27FC236}">
                  <a16:creationId xmlns:a16="http://schemas.microsoft.com/office/drawing/2014/main" id="{14A7DAE0-F4CB-43EF-BCC2-05E7279D6A07}"/>
                </a:ext>
              </a:extLst>
            </p:cNvPr>
            <p:cNvSpPr>
              <a:spLocks/>
            </p:cNvSpPr>
            <p:nvPr/>
          </p:nvSpPr>
          <p:spPr bwMode="auto">
            <a:xfrm>
              <a:off x="4232830" y="4552477"/>
              <a:ext cx="610591" cy="183480"/>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107C1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7" name="Freeform 10">
              <a:extLst>
                <a:ext uri="{FF2B5EF4-FFF2-40B4-BE49-F238E27FC236}">
                  <a16:creationId xmlns:a16="http://schemas.microsoft.com/office/drawing/2014/main" id="{B4F23727-C32F-4BDB-9F87-5D0429507FD4}"/>
                </a:ext>
              </a:extLst>
            </p:cNvPr>
            <p:cNvSpPr>
              <a:spLocks/>
            </p:cNvSpPr>
            <p:nvPr/>
          </p:nvSpPr>
          <p:spPr bwMode="auto">
            <a:xfrm>
              <a:off x="4232830" y="4552477"/>
              <a:ext cx="610591" cy="148910"/>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BAD80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48" name="Group 47">
            <a:extLst>
              <a:ext uri="{FF2B5EF4-FFF2-40B4-BE49-F238E27FC236}">
                <a16:creationId xmlns:a16="http://schemas.microsoft.com/office/drawing/2014/main" id="{81F7AF0D-6767-4DEF-988A-400C05F98849}"/>
              </a:ext>
            </a:extLst>
          </p:cNvPr>
          <p:cNvGrpSpPr/>
          <p:nvPr/>
        </p:nvGrpSpPr>
        <p:grpSpPr>
          <a:xfrm>
            <a:off x="5122667" y="4240392"/>
            <a:ext cx="903321" cy="1198087"/>
            <a:chOff x="5122667" y="4335603"/>
            <a:chExt cx="903321" cy="1198087"/>
          </a:xfrm>
        </p:grpSpPr>
        <p:sp>
          <p:nvSpPr>
            <p:cNvPr id="49" name="Freeform 6">
              <a:extLst>
                <a:ext uri="{FF2B5EF4-FFF2-40B4-BE49-F238E27FC236}">
                  <a16:creationId xmlns:a16="http://schemas.microsoft.com/office/drawing/2014/main" id="{82ECAAAC-DF7A-4F43-BFA2-921ECC15ACCE}"/>
                </a:ext>
              </a:extLst>
            </p:cNvPr>
            <p:cNvSpPr>
              <a:spLocks/>
            </p:cNvSpPr>
            <p:nvPr/>
          </p:nvSpPr>
          <p:spPr bwMode="auto">
            <a:xfrm>
              <a:off x="5122667" y="4497844"/>
              <a:ext cx="903319" cy="1035846"/>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rgbClr val="107C1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0" name="Freeform 7">
              <a:extLst>
                <a:ext uri="{FF2B5EF4-FFF2-40B4-BE49-F238E27FC236}">
                  <a16:creationId xmlns:a16="http://schemas.microsoft.com/office/drawing/2014/main" id="{39EFE839-976E-4D5D-AEE7-42C7F104F6C4}"/>
                </a:ext>
              </a:extLst>
            </p:cNvPr>
            <p:cNvSpPr>
              <a:spLocks/>
            </p:cNvSpPr>
            <p:nvPr/>
          </p:nvSpPr>
          <p:spPr bwMode="auto">
            <a:xfrm>
              <a:off x="5568098" y="4497844"/>
              <a:ext cx="457890" cy="1035846"/>
            </a:xfrm>
            <a:custGeom>
              <a:avLst/>
              <a:gdLst>
                <a:gd name="T0" fmla="*/ 0 w 1321"/>
                <a:gd name="T1" fmla="*/ 0 h 2984"/>
                <a:gd name="T2" fmla="*/ 1321 w 1321"/>
                <a:gd name="T3" fmla="*/ 0 h 2984"/>
                <a:gd name="T4" fmla="*/ 1321 w 1321"/>
                <a:gd name="T5" fmla="*/ 2512 h 2984"/>
                <a:gd name="T6" fmla="*/ 1318 w 1321"/>
                <a:gd name="T7" fmla="*/ 2547 h 2984"/>
                <a:gd name="T8" fmla="*/ 1308 w 1321"/>
                <a:gd name="T9" fmla="*/ 2582 h 2984"/>
                <a:gd name="T10" fmla="*/ 1290 w 1321"/>
                <a:gd name="T11" fmla="*/ 2615 h 2984"/>
                <a:gd name="T12" fmla="*/ 1266 w 1321"/>
                <a:gd name="T13" fmla="*/ 2648 h 2984"/>
                <a:gd name="T14" fmla="*/ 1236 w 1321"/>
                <a:gd name="T15" fmla="*/ 2680 h 2984"/>
                <a:gd name="T16" fmla="*/ 1200 w 1321"/>
                <a:gd name="T17" fmla="*/ 2711 h 2984"/>
                <a:gd name="T18" fmla="*/ 1159 w 1321"/>
                <a:gd name="T19" fmla="*/ 2740 h 2984"/>
                <a:gd name="T20" fmla="*/ 1112 w 1321"/>
                <a:gd name="T21" fmla="*/ 2769 h 2984"/>
                <a:gd name="T22" fmla="*/ 1058 w 1321"/>
                <a:gd name="T23" fmla="*/ 2795 h 2984"/>
                <a:gd name="T24" fmla="*/ 1002 w 1321"/>
                <a:gd name="T25" fmla="*/ 2822 h 2984"/>
                <a:gd name="T26" fmla="*/ 939 w 1321"/>
                <a:gd name="T27" fmla="*/ 2846 h 2984"/>
                <a:gd name="T28" fmla="*/ 873 w 1321"/>
                <a:gd name="T29" fmla="*/ 2868 h 2984"/>
                <a:gd name="T30" fmla="*/ 802 w 1321"/>
                <a:gd name="T31" fmla="*/ 2889 h 2984"/>
                <a:gd name="T32" fmla="*/ 727 w 1321"/>
                <a:gd name="T33" fmla="*/ 2908 h 2984"/>
                <a:gd name="T34" fmla="*/ 649 w 1321"/>
                <a:gd name="T35" fmla="*/ 2925 h 2984"/>
                <a:gd name="T36" fmla="*/ 567 w 1321"/>
                <a:gd name="T37" fmla="*/ 2940 h 2984"/>
                <a:gd name="T38" fmla="*/ 482 w 1321"/>
                <a:gd name="T39" fmla="*/ 2953 h 2984"/>
                <a:gd name="T40" fmla="*/ 394 w 1321"/>
                <a:gd name="T41" fmla="*/ 2964 h 2984"/>
                <a:gd name="T42" fmla="*/ 303 w 1321"/>
                <a:gd name="T43" fmla="*/ 2972 h 2984"/>
                <a:gd name="T44" fmla="*/ 210 w 1321"/>
                <a:gd name="T45" fmla="*/ 2979 h 2984"/>
                <a:gd name="T46" fmla="*/ 115 w 1321"/>
                <a:gd name="T47" fmla="*/ 2983 h 2984"/>
                <a:gd name="T48" fmla="*/ 17 w 1321"/>
                <a:gd name="T49" fmla="*/ 2984 h 2984"/>
                <a:gd name="T50" fmla="*/ 0 w 1321"/>
                <a:gd name="T51" fmla="*/ 2984 h 2984"/>
                <a:gd name="T52" fmla="*/ 0 w 1321"/>
                <a:gd name="T5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21" h="2984">
                  <a:moveTo>
                    <a:pt x="0" y="0"/>
                  </a:moveTo>
                  <a:lnTo>
                    <a:pt x="1321" y="0"/>
                  </a:lnTo>
                  <a:lnTo>
                    <a:pt x="1321" y="2512"/>
                  </a:lnTo>
                  <a:lnTo>
                    <a:pt x="1318" y="2547"/>
                  </a:lnTo>
                  <a:lnTo>
                    <a:pt x="1308" y="2582"/>
                  </a:lnTo>
                  <a:lnTo>
                    <a:pt x="1290" y="2615"/>
                  </a:lnTo>
                  <a:lnTo>
                    <a:pt x="1266" y="2648"/>
                  </a:lnTo>
                  <a:lnTo>
                    <a:pt x="1236" y="2680"/>
                  </a:lnTo>
                  <a:lnTo>
                    <a:pt x="1200" y="2711"/>
                  </a:lnTo>
                  <a:lnTo>
                    <a:pt x="1159" y="2740"/>
                  </a:lnTo>
                  <a:lnTo>
                    <a:pt x="1112" y="2769"/>
                  </a:lnTo>
                  <a:lnTo>
                    <a:pt x="1058" y="2795"/>
                  </a:lnTo>
                  <a:lnTo>
                    <a:pt x="1002" y="2822"/>
                  </a:lnTo>
                  <a:lnTo>
                    <a:pt x="939" y="2846"/>
                  </a:lnTo>
                  <a:lnTo>
                    <a:pt x="873" y="2868"/>
                  </a:lnTo>
                  <a:lnTo>
                    <a:pt x="802" y="2889"/>
                  </a:lnTo>
                  <a:lnTo>
                    <a:pt x="727" y="2908"/>
                  </a:lnTo>
                  <a:lnTo>
                    <a:pt x="649" y="2925"/>
                  </a:lnTo>
                  <a:lnTo>
                    <a:pt x="567" y="2940"/>
                  </a:lnTo>
                  <a:lnTo>
                    <a:pt x="482" y="2953"/>
                  </a:lnTo>
                  <a:lnTo>
                    <a:pt x="394" y="2964"/>
                  </a:lnTo>
                  <a:lnTo>
                    <a:pt x="303" y="2972"/>
                  </a:lnTo>
                  <a:lnTo>
                    <a:pt x="210" y="2979"/>
                  </a:lnTo>
                  <a:lnTo>
                    <a:pt x="115" y="2983"/>
                  </a:lnTo>
                  <a:lnTo>
                    <a:pt x="17" y="2984"/>
                  </a:lnTo>
                  <a:lnTo>
                    <a:pt x="0" y="2984"/>
                  </a:lnTo>
                  <a:lnTo>
                    <a:pt x="0" y="0"/>
                  </a:lnTo>
                  <a:close/>
                </a:path>
              </a:pathLst>
            </a:custGeom>
            <a:solidFill>
              <a:srgbClr val="BAD80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1" name="Freeform 8">
              <a:extLst>
                <a:ext uri="{FF2B5EF4-FFF2-40B4-BE49-F238E27FC236}">
                  <a16:creationId xmlns:a16="http://schemas.microsoft.com/office/drawing/2014/main" id="{1F413247-6EE4-46B3-9D86-6B0165640B23}"/>
                </a:ext>
              </a:extLst>
            </p:cNvPr>
            <p:cNvSpPr>
              <a:spLocks/>
            </p:cNvSpPr>
            <p:nvPr/>
          </p:nvSpPr>
          <p:spPr bwMode="auto">
            <a:xfrm>
              <a:off x="5122667" y="4335603"/>
              <a:ext cx="903319" cy="327603"/>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2" name="Freeform 9">
              <a:extLst>
                <a:ext uri="{FF2B5EF4-FFF2-40B4-BE49-F238E27FC236}">
                  <a16:creationId xmlns:a16="http://schemas.microsoft.com/office/drawing/2014/main" id="{E748247B-39B6-4142-B003-0D5B5C364ED5}"/>
                </a:ext>
              </a:extLst>
            </p:cNvPr>
            <p:cNvSpPr>
              <a:spLocks/>
            </p:cNvSpPr>
            <p:nvPr/>
          </p:nvSpPr>
          <p:spPr bwMode="auto">
            <a:xfrm>
              <a:off x="5216114" y="4382404"/>
              <a:ext cx="716425" cy="215282"/>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107C1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 name="Freeform 10">
              <a:extLst>
                <a:ext uri="{FF2B5EF4-FFF2-40B4-BE49-F238E27FC236}">
                  <a16:creationId xmlns:a16="http://schemas.microsoft.com/office/drawing/2014/main" id="{069DE10E-BB37-4679-9046-CF85951990A5}"/>
                </a:ext>
              </a:extLst>
            </p:cNvPr>
            <p:cNvSpPr>
              <a:spLocks/>
            </p:cNvSpPr>
            <p:nvPr/>
          </p:nvSpPr>
          <p:spPr bwMode="auto">
            <a:xfrm>
              <a:off x="5216114" y="4382404"/>
              <a:ext cx="716425" cy="174721"/>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BAD80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54" name="Group 53">
            <a:extLst>
              <a:ext uri="{FF2B5EF4-FFF2-40B4-BE49-F238E27FC236}">
                <a16:creationId xmlns:a16="http://schemas.microsoft.com/office/drawing/2014/main" id="{2EF34518-66F2-46D1-AF9B-1D4A6023A19F}"/>
              </a:ext>
            </a:extLst>
          </p:cNvPr>
          <p:cNvGrpSpPr/>
          <p:nvPr/>
        </p:nvGrpSpPr>
        <p:grpSpPr>
          <a:xfrm>
            <a:off x="6225590" y="4090629"/>
            <a:ext cx="1016238" cy="1347850"/>
            <a:chOff x="6225590" y="4185840"/>
            <a:chExt cx="1016238" cy="1347850"/>
          </a:xfrm>
        </p:grpSpPr>
        <p:sp>
          <p:nvSpPr>
            <p:cNvPr id="55" name="Freeform 6">
              <a:extLst>
                <a:ext uri="{FF2B5EF4-FFF2-40B4-BE49-F238E27FC236}">
                  <a16:creationId xmlns:a16="http://schemas.microsoft.com/office/drawing/2014/main" id="{1E582499-798A-4F3D-8BF1-7865FBEF999F}"/>
                </a:ext>
              </a:extLst>
            </p:cNvPr>
            <p:cNvSpPr>
              <a:spLocks/>
            </p:cNvSpPr>
            <p:nvPr/>
          </p:nvSpPr>
          <p:spPr bwMode="auto">
            <a:xfrm>
              <a:off x="6225590" y="4368361"/>
              <a:ext cx="1016236" cy="1165329"/>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rgbClr val="107C1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6" name="Freeform 7">
              <a:extLst>
                <a:ext uri="{FF2B5EF4-FFF2-40B4-BE49-F238E27FC236}">
                  <a16:creationId xmlns:a16="http://schemas.microsoft.com/office/drawing/2014/main" id="{B1CF330E-5E4F-471D-8F6E-312AEB89CAEF}"/>
                </a:ext>
              </a:extLst>
            </p:cNvPr>
            <p:cNvSpPr>
              <a:spLocks/>
            </p:cNvSpPr>
            <p:nvPr/>
          </p:nvSpPr>
          <p:spPr bwMode="auto">
            <a:xfrm>
              <a:off x="6726700" y="4368361"/>
              <a:ext cx="515128" cy="1165329"/>
            </a:xfrm>
            <a:custGeom>
              <a:avLst/>
              <a:gdLst>
                <a:gd name="T0" fmla="*/ 0 w 1321"/>
                <a:gd name="T1" fmla="*/ 0 h 2984"/>
                <a:gd name="T2" fmla="*/ 1321 w 1321"/>
                <a:gd name="T3" fmla="*/ 0 h 2984"/>
                <a:gd name="T4" fmla="*/ 1321 w 1321"/>
                <a:gd name="T5" fmla="*/ 2512 h 2984"/>
                <a:gd name="T6" fmla="*/ 1318 w 1321"/>
                <a:gd name="T7" fmla="*/ 2547 h 2984"/>
                <a:gd name="T8" fmla="*/ 1308 w 1321"/>
                <a:gd name="T9" fmla="*/ 2582 h 2984"/>
                <a:gd name="T10" fmla="*/ 1290 w 1321"/>
                <a:gd name="T11" fmla="*/ 2615 h 2984"/>
                <a:gd name="T12" fmla="*/ 1266 w 1321"/>
                <a:gd name="T13" fmla="*/ 2648 h 2984"/>
                <a:gd name="T14" fmla="*/ 1236 w 1321"/>
                <a:gd name="T15" fmla="*/ 2680 h 2984"/>
                <a:gd name="T16" fmla="*/ 1200 w 1321"/>
                <a:gd name="T17" fmla="*/ 2711 h 2984"/>
                <a:gd name="T18" fmla="*/ 1159 w 1321"/>
                <a:gd name="T19" fmla="*/ 2740 h 2984"/>
                <a:gd name="T20" fmla="*/ 1112 w 1321"/>
                <a:gd name="T21" fmla="*/ 2769 h 2984"/>
                <a:gd name="T22" fmla="*/ 1058 w 1321"/>
                <a:gd name="T23" fmla="*/ 2795 h 2984"/>
                <a:gd name="T24" fmla="*/ 1002 w 1321"/>
                <a:gd name="T25" fmla="*/ 2822 h 2984"/>
                <a:gd name="T26" fmla="*/ 939 w 1321"/>
                <a:gd name="T27" fmla="*/ 2846 h 2984"/>
                <a:gd name="T28" fmla="*/ 873 w 1321"/>
                <a:gd name="T29" fmla="*/ 2868 h 2984"/>
                <a:gd name="T30" fmla="*/ 802 w 1321"/>
                <a:gd name="T31" fmla="*/ 2889 h 2984"/>
                <a:gd name="T32" fmla="*/ 727 w 1321"/>
                <a:gd name="T33" fmla="*/ 2908 h 2984"/>
                <a:gd name="T34" fmla="*/ 649 w 1321"/>
                <a:gd name="T35" fmla="*/ 2925 h 2984"/>
                <a:gd name="T36" fmla="*/ 567 w 1321"/>
                <a:gd name="T37" fmla="*/ 2940 h 2984"/>
                <a:gd name="T38" fmla="*/ 482 w 1321"/>
                <a:gd name="T39" fmla="*/ 2953 h 2984"/>
                <a:gd name="T40" fmla="*/ 394 w 1321"/>
                <a:gd name="T41" fmla="*/ 2964 h 2984"/>
                <a:gd name="T42" fmla="*/ 303 w 1321"/>
                <a:gd name="T43" fmla="*/ 2972 h 2984"/>
                <a:gd name="T44" fmla="*/ 210 w 1321"/>
                <a:gd name="T45" fmla="*/ 2979 h 2984"/>
                <a:gd name="T46" fmla="*/ 115 w 1321"/>
                <a:gd name="T47" fmla="*/ 2983 h 2984"/>
                <a:gd name="T48" fmla="*/ 17 w 1321"/>
                <a:gd name="T49" fmla="*/ 2984 h 2984"/>
                <a:gd name="T50" fmla="*/ 0 w 1321"/>
                <a:gd name="T51" fmla="*/ 2984 h 2984"/>
                <a:gd name="T52" fmla="*/ 0 w 1321"/>
                <a:gd name="T5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21" h="2984">
                  <a:moveTo>
                    <a:pt x="0" y="0"/>
                  </a:moveTo>
                  <a:lnTo>
                    <a:pt x="1321" y="0"/>
                  </a:lnTo>
                  <a:lnTo>
                    <a:pt x="1321" y="2512"/>
                  </a:lnTo>
                  <a:lnTo>
                    <a:pt x="1318" y="2547"/>
                  </a:lnTo>
                  <a:lnTo>
                    <a:pt x="1308" y="2582"/>
                  </a:lnTo>
                  <a:lnTo>
                    <a:pt x="1290" y="2615"/>
                  </a:lnTo>
                  <a:lnTo>
                    <a:pt x="1266" y="2648"/>
                  </a:lnTo>
                  <a:lnTo>
                    <a:pt x="1236" y="2680"/>
                  </a:lnTo>
                  <a:lnTo>
                    <a:pt x="1200" y="2711"/>
                  </a:lnTo>
                  <a:lnTo>
                    <a:pt x="1159" y="2740"/>
                  </a:lnTo>
                  <a:lnTo>
                    <a:pt x="1112" y="2769"/>
                  </a:lnTo>
                  <a:lnTo>
                    <a:pt x="1058" y="2795"/>
                  </a:lnTo>
                  <a:lnTo>
                    <a:pt x="1002" y="2822"/>
                  </a:lnTo>
                  <a:lnTo>
                    <a:pt x="939" y="2846"/>
                  </a:lnTo>
                  <a:lnTo>
                    <a:pt x="873" y="2868"/>
                  </a:lnTo>
                  <a:lnTo>
                    <a:pt x="802" y="2889"/>
                  </a:lnTo>
                  <a:lnTo>
                    <a:pt x="727" y="2908"/>
                  </a:lnTo>
                  <a:lnTo>
                    <a:pt x="649" y="2925"/>
                  </a:lnTo>
                  <a:lnTo>
                    <a:pt x="567" y="2940"/>
                  </a:lnTo>
                  <a:lnTo>
                    <a:pt x="482" y="2953"/>
                  </a:lnTo>
                  <a:lnTo>
                    <a:pt x="394" y="2964"/>
                  </a:lnTo>
                  <a:lnTo>
                    <a:pt x="303" y="2972"/>
                  </a:lnTo>
                  <a:lnTo>
                    <a:pt x="210" y="2979"/>
                  </a:lnTo>
                  <a:lnTo>
                    <a:pt x="115" y="2983"/>
                  </a:lnTo>
                  <a:lnTo>
                    <a:pt x="17" y="2984"/>
                  </a:lnTo>
                  <a:lnTo>
                    <a:pt x="0" y="2984"/>
                  </a:lnTo>
                  <a:lnTo>
                    <a:pt x="0" y="0"/>
                  </a:lnTo>
                  <a:close/>
                </a:path>
              </a:pathLst>
            </a:custGeom>
            <a:solidFill>
              <a:srgbClr val="BAD80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7" name="Freeform 8">
              <a:extLst>
                <a:ext uri="{FF2B5EF4-FFF2-40B4-BE49-F238E27FC236}">
                  <a16:creationId xmlns:a16="http://schemas.microsoft.com/office/drawing/2014/main" id="{9BB677D2-C777-4739-8C67-3F1BF6984CC9}"/>
                </a:ext>
              </a:extLst>
            </p:cNvPr>
            <p:cNvSpPr>
              <a:spLocks/>
            </p:cNvSpPr>
            <p:nvPr/>
          </p:nvSpPr>
          <p:spPr bwMode="auto">
            <a:xfrm>
              <a:off x="6225590" y="4185840"/>
              <a:ext cx="1016236" cy="368554"/>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8" name="Freeform 9">
              <a:extLst>
                <a:ext uri="{FF2B5EF4-FFF2-40B4-BE49-F238E27FC236}">
                  <a16:creationId xmlns:a16="http://schemas.microsoft.com/office/drawing/2014/main" id="{97512352-18AE-455B-A59F-77712F411882}"/>
                </a:ext>
              </a:extLst>
            </p:cNvPr>
            <p:cNvSpPr>
              <a:spLocks/>
            </p:cNvSpPr>
            <p:nvPr/>
          </p:nvSpPr>
          <p:spPr bwMode="auto">
            <a:xfrm>
              <a:off x="6330718" y="4238491"/>
              <a:ext cx="805980" cy="242193"/>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107C1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9" name="Freeform 10">
              <a:extLst>
                <a:ext uri="{FF2B5EF4-FFF2-40B4-BE49-F238E27FC236}">
                  <a16:creationId xmlns:a16="http://schemas.microsoft.com/office/drawing/2014/main" id="{BCA9AB68-7294-4E40-9037-D95A3A839253}"/>
                </a:ext>
              </a:extLst>
            </p:cNvPr>
            <p:cNvSpPr>
              <a:spLocks/>
            </p:cNvSpPr>
            <p:nvPr/>
          </p:nvSpPr>
          <p:spPr bwMode="auto">
            <a:xfrm>
              <a:off x="6330718" y="4238491"/>
              <a:ext cx="805980" cy="196561"/>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BAD80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60" name="Group 59">
            <a:extLst>
              <a:ext uri="{FF2B5EF4-FFF2-40B4-BE49-F238E27FC236}">
                <a16:creationId xmlns:a16="http://schemas.microsoft.com/office/drawing/2014/main" id="{C2AE6132-07A5-449F-A1E0-C386320C51BE}"/>
              </a:ext>
            </a:extLst>
          </p:cNvPr>
          <p:cNvGrpSpPr/>
          <p:nvPr/>
        </p:nvGrpSpPr>
        <p:grpSpPr>
          <a:xfrm>
            <a:off x="7441430" y="3955844"/>
            <a:ext cx="1117861" cy="1482635"/>
            <a:chOff x="7441430" y="4051055"/>
            <a:chExt cx="1117861" cy="1482635"/>
          </a:xfrm>
        </p:grpSpPr>
        <p:sp>
          <p:nvSpPr>
            <p:cNvPr id="61" name="Freeform 6">
              <a:extLst>
                <a:ext uri="{FF2B5EF4-FFF2-40B4-BE49-F238E27FC236}">
                  <a16:creationId xmlns:a16="http://schemas.microsoft.com/office/drawing/2014/main" id="{8AB5C694-09CA-4989-8D25-BAB5FD4870A0}"/>
                </a:ext>
              </a:extLst>
            </p:cNvPr>
            <p:cNvSpPr>
              <a:spLocks/>
            </p:cNvSpPr>
            <p:nvPr/>
          </p:nvSpPr>
          <p:spPr bwMode="auto">
            <a:xfrm>
              <a:off x="7441430" y="4251828"/>
              <a:ext cx="1117859" cy="1281862"/>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rgbClr val="107C1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2" name="Freeform 7">
              <a:extLst>
                <a:ext uri="{FF2B5EF4-FFF2-40B4-BE49-F238E27FC236}">
                  <a16:creationId xmlns:a16="http://schemas.microsoft.com/office/drawing/2014/main" id="{62BD6DB3-83DA-4A75-ADC9-E1555108D449}"/>
                </a:ext>
              </a:extLst>
            </p:cNvPr>
            <p:cNvSpPr>
              <a:spLocks/>
            </p:cNvSpPr>
            <p:nvPr/>
          </p:nvSpPr>
          <p:spPr bwMode="auto">
            <a:xfrm>
              <a:off x="7992651" y="4251828"/>
              <a:ext cx="566640" cy="1281862"/>
            </a:xfrm>
            <a:custGeom>
              <a:avLst/>
              <a:gdLst>
                <a:gd name="T0" fmla="*/ 0 w 1321"/>
                <a:gd name="T1" fmla="*/ 0 h 2984"/>
                <a:gd name="T2" fmla="*/ 1321 w 1321"/>
                <a:gd name="T3" fmla="*/ 0 h 2984"/>
                <a:gd name="T4" fmla="*/ 1321 w 1321"/>
                <a:gd name="T5" fmla="*/ 2512 h 2984"/>
                <a:gd name="T6" fmla="*/ 1318 w 1321"/>
                <a:gd name="T7" fmla="*/ 2547 h 2984"/>
                <a:gd name="T8" fmla="*/ 1308 w 1321"/>
                <a:gd name="T9" fmla="*/ 2582 h 2984"/>
                <a:gd name="T10" fmla="*/ 1290 w 1321"/>
                <a:gd name="T11" fmla="*/ 2615 h 2984"/>
                <a:gd name="T12" fmla="*/ 1266 w 1321"/>
                <a:gd name="T13" fmla="*/ 2648 h 2984"/>
                <a:gd name="T14" fmla="*/ 1236 w 1321"/>
                <a:gd name="T15" fmla="*/ 2680 h 2984"/>
                <a:gd name="T16" fmla="*/ 1200 w 1321"/>
                <a:gd name="T17" fmla="*/ 2711 h 2984"/>
                <a:gd name="T18" fmla="*/ 1159 w 1321"/>
                <a:gd name="T19" fmla="*/ 2740 h 2984"/>
                <a:gd name="T20" fmla="*/ 1112 w 1321"/>
                <a:gd name="T21" fmla="*/ 2769 h 2984"/>
                <a:gd name="T22" fmla="*/ 1058 w 1321"/>
                <a:gd name="T23" fmla="*/ 2795 h 2984"/>
                <a:gd name="T24" fmla="*/ 1002 w 1321"/>
                <a:gd name="T25" fmla="*/ 2822 h 2984"/>
                <a:gd name="T26" fmla="*/ 939 w 1321"/>
                <a:gd name="T27" fmla="*/ 2846 h 2984"/>
                <a:gd name="T28" fmla="*/ 873 w 1321"/>
                <a:gd name="T29" fmla="*/ 2868 h 2984"/>
                <a:gd name="T30" fmla="*/ 802 w 1321"/>
                <a:gd name="T31" fmla="*/ 2889 h 2984"/>
                <a:gd name="T32" fmla="*/ 727 w 1321"/>
                <a:gd name="T33" fmla="*/ 2908 h 2984"/>
                <a:gd name="T34" fmla="*/ 649 w 1321"/>
                <a:gd name="T35" fmla="*/ 2925 h 2984"/>
                <a:gd name="T36" fmla="*/ 567 w 1321"/>
                <a:gd name="T37" fmla="*/ 2940 h 2984"/>
                <a:gd name="T38" fmla="*/ 482 w 1321"/>
                <a:gd name="T39" fmla="*/ 2953 h 2984"/>
                <a:gd name="T40" fmla="*/ 394 w 1321"/>
                <a:gd name="T41" fmla="*/ 2964 h 2984"/>
                <a:gd name="T42" fmla="*/ 303 w 1321"/>
                <a:gd name="T43" fmla="*/ 2972 h 2984"/>
                <a:gd name="T44" fmla="*/ 210 w 1321"/>
                <a:gd name="T45" fmla="*/ 2979 h 2984"/>
                <a:gd name="T46" fmla="*/ 115 w 1321"/>
                <a:gd name="T47" fmla="*/ 2983 h 2984"/>
                <a:gd name="T48" fmla="*/ 17 w 1321"/>
                <a:gd name="T49" fmla="*/ 2984 h 2984"/>
                <a:gd name="T50" fmla="*/ 0 w 1321"/>
                <a:gd name="T51" fmla="*/ 2984 h 2984"/>
                <a:gd name="T52" fmla="*/ 0 w 1321"/>
                <a:gd name="T5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21" h="2984">
                  <a:moveTo>
                    <a:pt x="0" y="0"/>
                  </a:moveTo>
                  <a:lnTo>
                    <a:pt x="1321" y="0"/>
                  </a:lnTo>
                  <a:lnTo>
                    <a:pt x="1321" y="2512"/>
                  </a:lnTo>
                  <a:lnTo>
                    <a:pt x="1318" y="2547"/>
                  </a:lnTo>
                  <a:lnTo>
                    <a:pt x="1308" y="2582"/>
                  </a:lnTo>
                  <a:lnTo>
                    <a:pt x="1290" y="2615"/>
                  </a:lnTo>
                  <a:lnTo>
                    <a:pt x="1266" y="2648"/>
                  </a:lnTo>
                  <a:lnTo>
                    <a:pt x="1236" y="2680"/>
                  </a:lnTo>
                  <a:lnTo>
                    <a:pt x="1200" y="2711"/>
                  </a:lnTo>
                  <a:lnTo>
                    <a:pt x="1159" y="2740"/>
                  </a:lnTo>
                  <a:lnTo>
                    <a:pt x="1112" y="2769"/>
                  </a:lnTo>
                  <a:lnTo>
                    <a:pt x="1058" y="2795"/>
                  </a:lnTo>
                  <a:lnTo>
                    <a:pt x="1002" y="2822"/>
                  </a:lnTo>
                  <a:lnTo>
                    <a:pt x="939" y="2846"/>
                  </a:lnTo>
                  <a:lnTo>
                    <a:pt x="873" y="2868"/>
                  </a:lnTo>
                  <a:lnTo>
                    <a:pt x="802" y="2889"/>
                  </a:lnTo>
                  <a:lnTo>
                    <a:pt x="727" y="2908"/>
                  </a:lnTo>
                  <a:lnTo>
                    <a:pt x="649" y="2925"/>
                  </a:lnTo>
                  <a:lnTo>
                    <a:pt x="567" y="2940"/>
                  </a:lnTo>
                  <a:lnTo>
                    <a:pt x="482" y="2953"/>
                  </a:lnTo>
                  <a:lnTo>
                    <a:pt x="394" y="2964"/>
                  </a:lnTo>
                  <a:lnTo>
                    <a:pt x="303" y="2972"/>
                  </a:lnTo>
                  <a:lnTo>
                    <a:pt x="210" y="2979"/>
                  </a:lnTo>
                  <a:lnTo>
                    <a:pt x="115" y="2983"/>
                  </a:lnTo>
                  <a:lnTo>
                    <a:pt x="17" y="2984"/>
                  </a:lnTo>
                  <a:lnTo>
                    <a:pt x="0" y="2984"/>
                  </a:lnTo>
                  <a:lnTo>
                    <a:pt x="0" y="0"/>
                  </a:lnTo>
                  <a:close/>
                </a:path>
              </a:pathLst>
            </a:custGeom>
            <a:solidFill>
              <a:srgbClr val="BAD80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3" name="Freeform 8">
              <a:extLst>
                <a:ext uri="{FF2B5EF4-FFF2-40B4-BE49-F238E27FC236}">
                  <a16:creationId xmlns:a16="http://schemas.microsoft.com/office/drawing/2014/main" id="{3A52C272-ADD2-4A76-AAC0-8B1D946007EB}"/>
                </a:ext>
              </a:extLst>
            </p:cNvPr>
            <p:cNvSpPr>
              <a:spLocks/>
            </p:cNvSpPr>
            <p:nvPr/>
          </p:nvSpPr>
          <p:spPr bwMode="auto">
            <a:xfrm>
              <a:off x="7441430" y="4051055"/>
              <a:ext cx="1117859" cy="405409"/>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4" name="Freeform 9">
              <a:extLst>
                <a:ext uri="{FF2B5EF4-FFF2-40B4-BE49-F238E27FC236}">
                  <a16:creationId xmlns:a16="http://schemas.microsoft.com/office/drawing/2014/main" id="{E0A43182-3D15-4604-A4AC-620073D92B70}"/>
                </a:ext>
              </a:extLst>
            </p:cNvPr>
            <p:cNvSpPr>
              <a:spLocks/>
            </p:cNvSpPr>
            <p:nvPr/>
          </p:nvSpPr>
          <p:spPr bwMode="auto">
            <a:xfrm>
              <a:off x="7557070" y="4108972"/>
              <a:ext cx="886577" cy="266412"/>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107C1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5" name="Freeform 10">
              <a:extLst>
                <a:ext uri="{FF2B5EF4-FFF2-40B4-BE49-F238E27FC236}">
                  <a16:creationId xmlns:a16="http://schemas.microsoft.com/office/drawing/2014/main" id="{21CBD077-A0EA-4422-A42F-39D86482FF77}"/>
                </a:ext>
              </a:extLst>
            </p:cNvPr>
            <p:cNvSpPr>
              <a:spLocks/>
            </p:cNvSpPr>
            <p:nvPr/>
          </p:nvSpPr>
          <p:spPr bwMode="auto">
            <a:xfrm>
              <a:off x="7557070" y="4108972"/>
              <a:ext cx="886577" cy="216217"/>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BAD80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66" name="Group 65">
            <a:extLst>
              <a:ext uri="{FF2B5EF4-FFF2-40B4-BE49-F238E27FC236}">
                <a16:creationId xmlns:a16="http://schemas.microsoft.com/office/drawing/2014/main" id="{9AFD7E68-D9AA-4084-899E-889FF7F4B705}"/>
              </a:ext>
            </a:extLst>
          </p:cNvPr>
          <p:cNvGrpSpPr/>
          <p:nvPr/>
        </p:nvGrpSpPr>
        <p:grpSpPr>
          <a:xfrm>
            <a:off x="8758893" y="3821059"/>
            <a:ext cx="1219485" cy="1617420"/>
            <a:chOff x="8758893" y="3916270"/>
            <a:chExt cx="1219485" cy="1617420"/>
          </a:xfrm>
        </p:grpSpPr>
        <p:sp>
          <p:nvSpPr>
            <p:cNvPr id="67" name="Freeform 6">
              <a:extLst>
                <a:ext uri="{FF2B5EF4-FFF2-40B4-BE49-F238E27FC236}">
                  <a16:creationId xmlns:a16="http://schemas.microsoft.com/office/drawing/2014/main" id="{DA7ABD5D-5C9C-4F51-9D16-02043F6ADE74}"/>
                </a:ext>
              </a:extLst>
            </p:cNvPr>
            <p:cNvSpPr>
              <a:spLocks/>
            </p:cNvSpPr>
            <p:nvPr/>
          </p:nvSpPr>
          <p:spPr bwMode="auto">
            <a:xfrm>
              <a:off x="8758893" y="4135295"/>
              <a:ext cx="1219483" cy="1398395"/>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rgbClr val="107C1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8" name="Freeform 7">
              <a:extLst>
                <a:ext uri="{FF2B5EF4-FFF2-40B4-BE49-F238E27FC236}">
                  <a16:creationId xmlns:a16="http://schemas.microsoft.com/office/drawing/2014/main" id="{4C18628A-BAB9-4D96-8D24-D861B516F126}"/>
                </a:ext>
              </a:extLst>
            </p:cNvPr>
            <p:cNvSpPr>
              <a:spLocks/>
            </p:cNvSpPr>
            <p:nvPr/>
          </p:nvSpPr>
          <p:spPr bwMode="auto">
            <a:xfrm>
              <a:off x="9360225" y="4135295"/>
              <a:ext cx="618153" cy="1398395"/>
            </a:xfrm>
            <a:custGeom>
              <a:avLst/>
              <a:gdLst>
                <a:gd name="T0" fmla="*/ 0 w 1321"/>
                <a:gd name="T1" fmla="*/ 0 h 2984"/>
                <a:gd name="T2" fmla="*/ 1321 w 1321"/>
                <a:gd name="T3" fmla="*/ 0 h 2984"/>
                <a:gd name="T4" fmla="*/ 1321 w 1321"/>
                <a:gd name="T5" fmla="*/ 2512 h 2984"/>
                <a:gd name="T6" fmla="*/ 1318 w 1321"/>
                <a:gd name="T7" fmla="*/ 2547 h 2984"/>
                <a:gd name="T8" fmla="*/ 1308 w 1321"/>
                <a:gd name="T9" fmla="*/ 2582 h 2984"/>
                <a:gd name="T10" fmla="*/ 1290 w 1321"/>
                <a:gd name="T11" fmla="*/ 2615 h 2984"/>
                <a:gd name="T12" fmla="*/ 1266 w 1321"/>
                <a:gd name="T13" fmla="*/ 2648 h 2984"/>
                <a:gd name="T14" fmla="*/ 1236 w 1321"/>
                <a:gd name="T15" fmla="*/ 2680 h 2984"/>
                <a:gd name="T16" fmla="*/ 1200 w 1321"/>
                <a:gd name="T17" fmla="*/ 2711 h 2984"/>
                <a:gd name="T18" fmla="*/ 1159 w 1321"/>
                <a:gd name="T19" fmla="*/ 2740 h 2984"/>
                <a:gd name="T20" fmla="*/ 1112 w 1321"/>
                <a:gd name="T21" fmla="*/ 2769 h 2984"/>
                <a:gd name="T22" fmla="*/ 1058 w 1321"/>
                <a:gd name="T23" fmla="*/ 2795 h 2984"/>
                <a:gd name="T24" fmla="*/ 1002 w 1321"/>
                <a:gd name="T25" fmla="*/ 2822 h 2984"/>
                <a:gd name="T26" fmla="*/ 939 w 1321"/>
                <a:gd name="T27" fmla="*/ 2846 h 2984"/>
                <a:gd name="T28" fmla="*/ 873 w 1321"/>
                <a:gd name="T29" fmla="*/ 2868 h 2984"/>
                <a:gd name="T30" fmla="*/ 802 w 1321"/>
                <a:gd name="T31" fmla="*/ 2889 h 2984"/>
                <a:gd name="T32" fmla="*/ 727 w 1321"/>
                <a:gd name="T33" fmla="*/ 2908 h 2984"/>
                <a:gd name="T34" fmla="*/ 649 w 1321"/>
                <a:gd name="T35" fmla="*/ 2925 h 2984"/>
                <a:gd name="T36" fmla="*/ 567 w 1321"/>
                <a:gd name="T37" fmla="*/ 2940 h 2984"/>
                <a:gd name="T38" fmla="*/ 482 w 1321"/>
                <a:gd name="T39" fmla="*/ 2953 h 2984"/>
                <a:gd name="T40" fmla="*/ 394 w 1321"/>
                <a:gd name="T41" fmla="*/ 2964 h 2984"/>
                <a:gd name="T42" fmla="*/ 303 w 1321"/>
                <a:gd name="T43" fmla="*/ 2972 h 2984"/>
                <a:gd name="T44" fmla="*/ 210 w 1321"/>
                <a:gd name="T45" fmla="*/ 2979 h 2984"/>
                <a:gd name="T46" fmla="*/ 115 w 1321"/>
                <a:gd name="T47" fmla="*/ 2983 h 2984"/>
                <a:gd name="T48" fmla="*/ 17 w 1321"/>
                <a:gd name="T49" fmla="*/ 2984 h 2984"/>
                <a:gd name="T50" fmla="*/ 0 w 1321"/>
                <a:gd name="T51" fmla="*/ 2984 h 2984"/>
                <a:gd name="T52" fmla="*/ 0 w 1321"/>
                <a:gd name="T5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21" h="2984">
                  <a:moveTo>
                    <a:pt x="0" y="0"/>
                  </a:moveTo>
                  <a:lnTo>
                    <a:pt x="1321" y="0"/>
                  </a:lnTo>
                  <a:lnTo>
                    <a:pt x="1321" y="2512"/>
                  </a:lnTo>
                  <a:lnTo>
                    <a:pt x="1318" y="2547"/>
                  </a:lnTo>
                  <a:lnTo>
                    <a:pt x="1308" y="2582"/>
                  </a:lnTo>
                  <a:lnTo>
                    <a:pt x="1290" y="2615"/>
                  </a:lnTo>
                  <a:lnTo>
                    <a:pt x="1266" y="2648"/>
                  </a:lnTo>
                  <a:lnTo>
                    <a:pt x="1236" y="2680"/>
                  </a:lnTo>
                  <a:lnTo>
                    <a:pt x="1200" y="2711"/>
                  </a:lnTo>
                  <a:lnTo>
                    <a:pt x="1159" y="2740"/>
                  </a:lnTo>
                  <a:lnTo>
                    <a:pt x="1112" y="2769"/>
                  </a:lnTo>
                  <a:lnTo>
                    <a:pt x="1058" y="2795"/>
                  </a:lnTo>
                  <a:lnTo>
                    <a:pt x="1002" y="2822"/>
                  </a:lnTo>
                  <a:lnTo>
                    <a:pt x="939" y="2846"/>
                  </a:lnTo>
                  <a:lnTo>
                    <a:pt x="873" y="2868"/>
                  </a:lnTo>
                  <a:lnTo>
                    <a:pt x="802" y="2889"/>
                  </a:lnTo>
                  <a:lnTo>
                    <a:pt x="727" y="2908"/>
                  </a:lnTo>
                  <a:lnTo>
                    <a:pt x="649" y="2925"/>
                  </a:lnTo>
                  <a:lnTo>
                    <a:pt x="567" y="2940"/>
                  </a:lnTo>
                  <a:lnTo>
                    <a:pt x="482" y="2953"/>
                  </a:lnTo>
                  <a:lnTo>
                    <a:pt x="394" y="2964"/>
                  </a:lnTo>
                  <a:lnTo>
                    <a:pt x="303" y="2972"/>
                  </a:lnTo>
                  <a:lnTo>
                    <a:pt x="210" y="2979"/>
                  </a:lnTo>
                  <a:lnTo>
                    <a:pt x="115" y="2983"/>
                  </a:lnTo>
                  <a:lnTo>
                    <a:pt x="17" y="2984"/>
                  </a:lnTo>
                  <a:lnTo>
                    <a:pt x="0" y="2984"/>
                  </a:lnTo>
                  <a:lnTo>
                    <a:pt x="0" y="0"/>
                  </a:lnTo>
                  <a:close/>
                </a:path>
              </a:pathLst>
            </a:custGeom>
            <a:solidFill>
              <a:srgbClr val="BAD80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Freeform 8">
              <a:extLst>
                <a:ext uri="{FF2B5EF4-FFF2-40B4-BE49-F238E27FC236}">
                  <a16:creationId xmlns:a16="http://schemas.microsoft.com/office/drawing/2014/main" id="{4AB7F2B6-D9F4-4E0A-9797-673230AD5BEF}"/>
                </a:ext>
              </a:extLst>
            </p:cNvPr>
            <p:cNvSpPr>
              <a:spLocks/>
            </p:cNvSpPr>
            <p:nvPr/>
          </p:nvSpPr>
          <p:spPr bwMode="auto">
            <a:xfrm>
              <a:off x="8758893" y="3916270"/>
              <a:ext cx="1219483" cy="442264"/>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0" name="Freeform 9">
              <a:extLst>
                <a:ext uri="{FF2B5EF4-FFF2-40B4-BE49-F238E27FC236}">
                  <a16:creationId xmlns:a16="http://schemas.microsoft.com/office/drawing/2014/main" id="{347483A4-0527-4C32-A69F-C0FB4535B8B3}"/>
                </a:ext>
              </a:extLst>
            </p:cNvPr>
            <p:cNvSpPr>
              <a:spLocks/>
            </p:cNvSpPr>
            <p:nvPr/>
          </p:nvSpPr>
          <p:spPr bwMode="auto">
            <a:xfrm>
              <a:off x="8885046" y="3979452"/>
              <a:ext cx="967175" cy="290631"/>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107C1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1" name="Freeform 10">
              <a:extLst>
                <a:ext uri="{FF2B5EF4-FFF2-40B4-BE49-F238E27FC236}">
                  <a16:creationId xmlns:a16="http://schemas.microsoft.com/office/drawing/2014/main" id="{F71E4363-7B13-4D60-A318-06D24FBE4380}"/>
                </a:ext>
              </a:extLst>
            </p:cNvPr>
            <p:cNvSpPr>
              <a:spLocks/>
            </p:cNvSpPr>
            <p:nvPr/>
          </p:nvSpPr>
          <p:spPr bwMode="auto">
            <a:xfrm>
              <a:off x="8885046" y="3979452"/>
              <a:ext cx="967175" cy="235873"/>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BAD80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72" name="Group 71">
            <a:extLst>
              <a:ext uri="{FF2B5EF4-FFF2-40B4-BE49-F238E27FC236}">
                <a16:creationId xmlns:a16="http://schemas.microsoft.com/office/drawing/2014/main" id="{ED1450A7-4395-44A0-8F79-3387318D2F84}"/>
              </a:ext>
            </a:extLst>
          </p:cNvPr>
          <p:cNvGrpSpPr/>
          <p:nvPr/>
        </p:nvGrpSpPr>
        <p:grpSpPr>
          <a:xfrm>
            <a:off x="10177980" y="3686275"/>
            <a:ext cx="1321108" cy="1752204"/>
            <a:chOff x="10177980" y="3781486"/>
            <a:chExt cx="1321108" cy="1752204"/>
          </a:xfrm>
        </p:grpSpPr>
        <p:sp>
          <p:nvSpPr>
            <p:cNvPr id="73" name="Freeform 6">
              <a:extLst>
                <a:ext uri="{FF2B5EF4-FFF2-40B4-BE49-F238E27FC236}">
                  <a16:creationId xmlns:a16="http://schemas.microsoft.com/office/drawing/2014/main" id="{EC508015-C063-43C2-BE6A-ECA4F64759C9}"/>
                </a:ext>
              </a:extLst>
            </p:cNvPr>
            <p:cNvSpPr>
              <a:spLocks/>
            </p:cNvSpPr>
            <p:nvPr/>
          </p:nvSpPr>
          <p:spPr bwMode="auto">
            <a:xfrm>
              <a:off x="10177980" y="4018763"/>
              <a:ext cx="1321106" cy="1514927"/>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rgbClr val="107C1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4" name="Freeform 7">
              <a:extLst>
                <a:ext uri="{FF2B5EF4-FFF2-40B4-BE49-F238E27FC236}">
                  <a16:creationId xmlns:a16="http://schemas.microsoft.com/office/drawing/2014/main" id="{D1B9E2AD-2977-4236-9D6E-5EECA8A8746C}"/>
                </a:ext>
              </a:extLst>
            </p:cNvPr>
            <p:cNvSpPr>
              <a:spLocks/>
            </p:cNvSpPr>
            <p:nvPr/>
          </p:nvSpPr>
          <p:spPr bwMode="auto">
            <a:xfrm>
              <a:off x="10829423" y="4018763"/>
              <a:ext cx="669665" cy="1514927"/>
            </a:xfrm>
            <a:custGeom>
              <a:avLst/>
              <a:gdLst>
                <a:gd name="T0" fmla="*/ 0 w 1321"/>
                <a:gd name="T1" fmla="*/ 0 h 2984"/>
                <a:gd name="T2" fmla="*/ 1321 w 1321"/>
                <a:gd name="T3" fmla="*/ 0 h 2984"/>
                <a:gd name="T4" fmla="*/ 1321 w 1321"/>
                <a:gd name="T5" fmla="*/ 2512 h 2984"/>
                <a:gd name="T6" fmla="*/ 1318 w 1321"/>
                <a:gd name="T7" fmla="*/ 2547 h 2984"/>
                <a:gd name="T8" fmla="*/ 1308 w 1321"/>
                <a:gd name="T9" fmla="*/ 2582 h 2984"/>
                <a:gd name="T10" fmla="*/ 1290 w 1321"/>
                <a:gd name="T11" fmla="*/ 2615 h 2984"/>
                <a:gd name="T12" fmla="*/ 1266 w 1321"/>
                <a:gd name="T13" fmla="*/ 2648 h 2984"/>
                <a:gd name="T14" fmla="*/ 1236 w 1321"/>
                <a:gd name="T15" fmla="*/ 2680 h 2984"/>
                <a:gd name="T16" fmla="*/ 1200 w 1321"/>
                <a:gd name="T17" fmla="*/ 2711 h 2984"/>
                <a:gd name="T18" fmla="*/ 1159 w 1321"/>
                <a:gd name="T19" fmla="*/ 2740 h 2984"/>
                <a:gd name="T20" fmla="*/ 1112 w 1321"/>
                <a:gd name="T21" fmla="*/ 2769 h 2984"/>
                <a:gd name="T22" fmla="*/ 1058 w 1321"/>
                <a:gd name="T23" fmla="*/ 2795 h 2984"/>
                <a:gd name="T24" fmla="*/ 1002 w 1321"/>
                <a:gd name="T25" fmla="*/ 2822 h 2984"/>
                <a:gd name="T26" fmla="*/ 939 w 1321"/>
                <a:gd name="T27" fmla="*/ 2846 h 2984"/>
                <a:gd name="T28" fmla="*/ 873 w 1321"/>
                <a:gd name="T29" fmla="*/ 2868 h 2984"/>
                <a:gd name="T30" fmla="*/ 802 w 1321"/>
                <a:gd name="T31" fmla="*/ 2889 h 2984"/>
                <a:gd name="T32" fmla="*/ 727 w 1321"/>
                <a:gd name="T33" fmla="*/ 2908 h 2984"/>
                <a:gd name="T34" fmla="*/ 649 w 1321"/>
                <a:gd name="T35" fmla="*/ 2925 h 2984"/>
                <a:gd name="T36" fmla="*/ 567 w 1321"/>
                <a:gd name="T37" fmla="*/ 2940 h 2984"/>
                <a:gd name="T38" fmla="*/ 482 w 1321"/>
                <a:gd name="T39" fmla="*/ 2953 h 2984"/>
                <a:gd name="T40" fmla="*/ 394 w 1321"/>
                <a:gd name="T41" fmla="*/ 2964 h 2984"/>
                <a:gd name="T42" fmla="*/ 303 w 1321"/>
                <a:gd name="T43" fmla="*/ 2972 h 2984"/>
                <a:gd name="T44" fmla="*/ 210 w 1321"/>
                <a:gd name="T45" fmla="*/ 2979 h 2984"/>
                <a:gd name="T46" fmla="*/ 115 w 1321"/>
                <a:gd name="T47" fmla="*/ 2983 h 2984"/>
                <a:gd name="T48" fmla="*/ 17 w 1321"/>
                <a:gd name="T49" fmla="*/ 2984 h 2984"/>
                <a:gd name="T50" fmla="*/ 0 w 1321"/>
                <a:gd name="T51" fmla="*/ 2984 h 2984"/>
                <a:gd name="T52" fmla="*/ 0 w 1321"/>
                <a:gd name="T5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21" h="2984">
                  <a:moveTo>
                    <a:pt x="0" y="0"/>
                  </a:moveTo>
                  <a:lnTo>
                    <a:pt x="1321" y="0"/>
                  </a:lnTo>
                  <a:lnTo>
                    <a:pt x="1321" y="2512"/>
                  </a:lnTo>
                  <a:lnTo>
                    <a:pt x="1318" y="2547"/>
                  </a:lnTo>
                  <a:lnTo>
                    <a:pt x="1308" y="2582"/>
                  </a:lnTo>
                  <a:lnTo>
                    <a:pt x="1290" y="2615"/>
                  </a:lnTo>
                  <a:lnTo>
                    <a:pt x="1266" y="2648"/>
                  </a:lnTo>
                  <a:lnTo>
                    <a:pt x="1236" y="2680"/>
                  </a:lnTo>
                  <a:lnTo>
                    <a:pt x="1200" y="2711"/>
                  </a:lnTo>
                  <a:lnTo>
                    <a:pt x="1159" y="2740"/>
                  </a:lnTo>
                  <a:lnTo>
                    <a:pt x="1112" y="2769"/>
                  </a:lnTo>
                  <a:lnTo>
                    <a:pt x="1058" y="2795"/>
                  </a:lnTo>
                  <a:lnTo>
                    <a:pt x="1002" y="2822"/>
                  </a:lnTo>
                  <a:lnTo>
                    <a:pt x="939" y="2846"/>
                  </a:lnTo>
                  <a:lnTo>
                    <a:pt x="873" y="2868"/>
                  </a:lnTo>
                  <a:lnTo>
                    <a:pt x="802" y="2889"/>
                  </a:lnTo>
                  <a:lnTo>
                    <a:pt x="727" y="2908"/>
                  </a:lnTo>
                  <a:lnTo>
                    <a:pt x="649" y="2925"/>
                  </a:lnTo>
                  <a:lnTo>
                    <a:pt x="567" y="2940"/>
                  </a:lnTo>
                  <a:lnTo>
                    <a:pt x="482" y="2953"/>
                  </a:lnTo>
                  <a:lnTo>
                    <a:pt x="394" y="2964"/>
                  </a:lnTo>
                  <a:lnTo>
                    <a:pt x="303" y="2972"/>
                  </a:lnTo>
                  <a:lnTo>
                    <a:pt x="210" y="2979"/>
                  </a:lnTo>
                  <a:lnTo>
                    <a:pt x="115" y="2983"/>
                  </a:lnTo>
                  <a:lnTo>
                    <a:pt x="17" y="2984"/>
                  </a:lnTo>
                  <a:lnTo>
                    <a:pt x="0" y="2984"/>
                  </a:lnTo>
                  <a:lnTo>
                    <a:pt x="0" y="0"/>
                  </a:lnTo>
                  <a:close/>
                </a:path>
              </a:pathLst>
            </a:custGeom>
            <a:solidFill>
              <a:srgbClr val="BAD80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5" name="Freeform 8">
              <a:extLst>
                <a:ext uri="{FF2B5EF4-FFF2-40B4-BE49-F238E27FC236}">
                  <a16:creationId xmlns:a16="http://schemas.microsoft.com/office/drawing/2014/main" id="{8E9BDC79-7A2A-4A0C-BB3F-FA69703C3731}"/>
                </a:ext>
              </a:extLst>
            </p:cNvPr>
            <p:cNvSpPr>
              <a:spLocks/>
            </p:cNvSpPr>
            <p:nvPr/>
          </p:nvSpPr>
          <p:spPr bwMode="auto">
            <a:xfrm>
              <a:off x="10177980" y="3781486"/>
              <a:ext cx="1321106" cy="479119"/>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Freeform 9">
              <a:extLst>
                <a:ext uri="{FF2B5EF4-FFF2-40B4-BE49-F238E27FC236}">
                  <a16:creationId xmlns:a16="http://schemas.microsoft.com/office/drawing/2014/main" id="{926692DE-4544-47DF-B473-07C596C251B8}"/>
                </a:ext>
              </a:extLst>
            </p:cNvPr>
            <p:cNvSpPr>
              <a:spLocks/>
            </p:cNvSpPr>
            <p:nvPr/>
          </p:nvSpPr>
          <p:spPr bwMode="auto">
            <a:xfrm>
              <a:off x="10314646" y="3849933"/>
              <a:ext cx="1047773" cy="314851"/>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107C1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Freeform 10">
              <a:extLst>
                <a:ext uri="{FF2B5EF4-FFF2-40B4-BE49-F238E27FC236}">
                  <a16:creationId xmlns:a16="http://schemas.microsoft.com/office/drawing/2014/main" id="{E55E5190-F161-48A4-BDAD-A54BB294366B}"/>
                </a:ext>
              </a:extLst>
            </p:cNvPr>
            <p:cNvSpPr>
              <a:spLocks/>
            </p:cNvSpPr>
            <p:nvPr/>
          </p:nvSpPr>
          <p:spPr bwMode="auto">
            <a:xfrm>
              <a:off x="10314646" y="3849933"/>
              <a:ext cx="1047773" cy="255529"/>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BAD80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42217838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Vertical Scaling</a:t>
            </a:r>
          </a:p>
        </p:txBody>
      </p:sp>
      <p:sp>
        <p:nvSpPr>
          <p:cNvPr id="5" name="Rectangle 4" descr="Checkmark">
            <a:extLst>
              <a:ext uri="{FF2B5EF4-FFF2-40B4-BE49-F238E27FC236}">
                <a16:creationId xmlns:a16="http://schemas.microsoft.com/office/drawing/2014/main" id="{43412E72-0389-4A82-9D3A-84A86CEC35F5}"/>
              </a:ext>
            </a:extLst>
          </p:cNvPr>
          <p:cNvSpPr/>
          <p:nvPr/>
        </p:nvSpPr>
        <p:spPr>
          <a:xfrm>
            <a:off x="1537457" y="2127646"/>
            <a:ext cx="1492294" cy="1492294"/>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nvGrpSpPr>
          <p:cNvPr id="6" name="Group 5">
            <a:extLst>
              <a:ext uri="{FF2B5EF4-FFF2-40B4-BE49-F238E27FC236}">
                <a16:creationId xmlns:a16="http://schemas.microsoft.com/office/drawing/2014/main" id="{D83AA7DD-F0F6-490D-A26B-144AF5C42854}"/>
              </a:ext>
            </a:extLst>
          </p:cNvPr>
          <p:cNvGrpSpPr/>
          <p:nvPr/>
        </p:nvGrpSpPr>
        <p:grpSpPr>
          <a:xfrm>
            <a:off x="625500" y="4010354"/>
            <a:ext cx="3316209" cy="720000"/>
            <a:chOff x="197219" y="3107154"/>
            <a:chExt cx="3316209" cy="720000"/>
          </a:xfrm>
        </p:grpSpPr>
        <p:sp>
          <p:nvSpPr>
            <p:cNvPr id="15" name="Rectangle 14">
              <a:extLst>
                <a:ext uri="{FF2B5EF4-FFF2-40B4-BE49-F238E27FC236}">
                  <a16:creationId xmlns:a16="http://schemas.microsoft.com/office/drawing/2014/main" id="{9898CC3F-5C44-41F0-9BD1-4A9C88FE9AE9}"/>
                </a:ext>
              </a:extLst>
            </p:cNvPr>
            <p:cNvSpPr/>
            <p:nvPr/>
          </p:nvSpPr>
          <p:spPr>
            <a:xfrm>
              <a:off x="197219" y="3107154"/>
              <a:ext cx="3316209" cy="72000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6" name="TextBox 15">
              <a:extLst>
                <a:ext uri="{FF2B5EF4-FFF2-40B4-BE49-F238E27FC236}">
                  <a16:creationId xmlns:a16="http://schemas.microsoft.com/office/drawing/2014/main" id="{540E0BFA-0E53-4919-B64A-E4BC35265C6A}"/>
                </a:ext>
              </a:extLst>
            </p:cNvPr>
            <p:cNvSpPr txBox="1"/>
            <p:nvPr/>
          </p:nvSpPr>
          <p:spPr>
            <a:xfrm>
              <a:off x="197219" y="3107154"/>
              <a:ext cx="3316209" cy="72000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933450">
                <a:lnSpc>
                  <a:spcPct val="100000"/>
                </a:lnSpc>
                <a:spcBef>
                  <a:spcPct val="0"/>
                </a:spcBef>
                <a:spcAft>
                  <a:spcPct val="35000"/>
                </a:spcAft>
                <a:buNone/>
              </a:pPr>
              <a:r>
                <a:rPr lang="en-US" sz="2100" kern="1200" baseline="0" dirty="0">
                  <a:latin typeface="Segoe UI Light" panose="020B0502040204020203" pitchFamily="34" charset="0"/>
                  <a:cs typeface="Segoe UI Light" panose="020B0502040204020203" pitchFamily="34" charset="0"/>
                </a:rPr>
                <a:t>Upgrade to a Higher Service Tier</a:t>
              </a:r>
              <a:endParaRPr lang="en-US" sz="2100" kern="1200" dirty="0">
                <a:latin typeface="Segoe UI Light" panose="020B0502040204020203" pitchFamily="34" charset="0"/>
                <a:cs typeface="Segoe UI Light" panose="020B0502040204020203" pitchFamily="34" charset="0"/>
              </a:endParaRPr>
            </a:p>
          </p:txBody>
        </p:sp>
      </p:grpSp>
      <p:sp>
        <p:nvSpPr>
          <p:cNvPr id="7" name="Rectangle 6" descr="Bar Graph with Downward Trend">
            <a:extLst>
              <a:ext uri="{FF2B5EF4-FFF2-40B4-BE49-F238E27FC236}">
                <a16:creationId xmlns:a16="http://schemas.microsoft.com/office/drawing/2014/main" id="{CA9E28E0-D8DC-480F-894A-80ED72BCDBC0}"/>
              </a:ext>
            </a:extLst>
          </p:cNvPr>
          <p:cNvSpPr/>
          <p:nvPr/>
        </p:nvSpPr>
        <p:spPr>
          <a:xfrm>
            <a:off x="5434003" y="2127646"/>
            <a:ext cx="1492294" cy="1492294"/>
          </a:xfrm>
          <a:prstGeom prst="rect">
            <a:avLst/>
          </a:prstGeom>
          <a: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nvGrpSpPr>
          <p:cNvPr id="8" name="Group 7">
            <a:extLst>
              <a:ext uri="{FF2B5EF4-FFF2-40B4-BE49-F238E27FC236}">
                <a16:creationId xmlns:a16="http://schemas.microsoft.com/office/drawing/2014/main" id="{7288E26B-9104-41B7-A46B-6153CB7C5F8B}"/>
              </a:ext>
            </a:extLst>
          </p:cNvPr>
          <p:cNvGrpSpPr/>
          <p:nvPr/>
        </p:nvGrpSpPr>
        <p:grpSpPr>
          <a:xfrm>
            <a:off x="4522045" y="4010354"/>
            <a:ext cx="3316209" cy="720000"/>
            <a:chOff x="4093764" y="3107154"/>
            <a:chExt cx="3316209" cy="720000"/>
          </a:xfrm>
        </p:grpSpPr>
        <p:sp>
          <p:nvSpPr>
            <p:cNvPr id="13" name="Rectangle 12">
              <a:extLst>
                <a:ext uri="{FF2B5EF4-FFF2-40B4-BE49-F238E27FC236}">
                  <a16:creationId xmlns:a16="http://schemas.microsoft.com/office/drawing/2014/main" id="{B00D51D0-3351-4B35-98C7-243549AA7E63}"/>
                </a:ext>
              </a:extLst>
            </p:cNvPr>
            <p:cNvSpPr/>
            <p:nvPr/>
          </p:nvSpPr>
          <p:spPr>
            <a:xfrm>
              <a:off x="4093764" y="3107154"/>
              <a:ext cx="3316209" cy="72000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4" name="TextBox 13">
              <a:extLst>
                <a:ext uri="{FF2B5EF4-FFF2-40B4-BE49-F238E27FC236}">
                  <a16:creationId xmlns:a16="http://schemas.microsoft.com/office/drawing/2014/main" id="{756E5498-180E-4707-B166-A8D29C2DEB0A}"/>
                </a:ext>
              </a:extLst>
            </p:cNvPr>
            <p:cNvSpPr txBox="1"/>
            <p:nvPr/>
          </p:nvSpPr>
          <p:spPr>
            <a:xfrm>
              <a:off x="4093764" y="3107154"/>
              <a:ext cx="3316209" cy="72000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933450">
                <a:lnSpc>
                  <a:spcPct val="100000"/>
                </a:lnSpc>
                <a:spcBef>
                  <a:spcPct val="0"/>
                </a:spcBef>
                <a:spcAft>
                  <a:spcPct val="35000"/>
                </a:spcAft>
                <a:buNone/>
              </a:pPr>
              <a:r>
                <a:rPr lang="en-US" sz="2100" kern="1200" baseline="0">
                  <a:latin typeface="Segoe UI Light" panose="020B0502040204020203" pitchFamily="34" charset="0"/>
                  <a:ea typeface="+mn-ea"/>
                  <a:cs typeface="Segoe UI Light" panose="020B0502040204020203" pitchFamily="34" charset="0"/>
                </a:rPr>
                <a:t>Downgrade to a Lower Service Tier</a:t>
              </a:r>
            </a:p>
          </p:txBody>
        </p:sp>
      </p:grpSp>
      <p:sp>
        <p:nvSpPr>
          <p:cNvPr id="9" name="Rectangle 8" descr="Gauge">
            <a:extLst>
              <a:ext uri="{FF2B5EF4-FFF2-40B4-BE49-F238E27FC236}">
                <a16:creationId xmlns:a16="http://schemas.microsoft.com/office/drawing/2014/main" id="{ADE5207E-D2D5-41F5-ACDA-30C38A0F6EB7}"/>
              </a:ext>
            </a:extLst>
          </p:cNvPr>
          <p:cNvSpPr/>
          <p:nvPr/>
        </p:nvSpPr>
        <p:spPr>
          <a:xfrm>
            <a:off x="9330549" y="2127646"/>
            <a:ext cx="1492294" cy="1492294"/>
          </a:xfrm>
          <a:prstGeom prst="rect">
            <a:avLst/>
          </a:prstGeom>
          <a: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nvGrpSpPr>
          <p:cNvPr id="10" name="Group 9">
            <a:extLst>
              <a:ext uri="{FF2B5EF4-FFF2-40B4-BE49-F238E27FC236}">
                <a16:creationId xmlns:a16="http://schemas.microsoft.com/office/drawing/2014/main" id="{04B292D1-C417-4A08-9F82-9CA5B155F70A}"/>
              </a:ext>
            </a:extLst>
          </p:cNvPr>
          <p:cNvGrpSpPr/>
          <p:nvPr/>
        </p:nvGrpSpPr>
        <p:grpSpPr>
          <a:xfrm>
            <a:off x="8418591" y="4010354"/>
            <a:ext cx="3316209" cy="720000"/>
            <a:chOff x="7990310" y="3107154"/>
            <a:chExt cx="3316209" cy="720000"/>
          </a:xfrm>
        </p:grpSpPr>
        <p:sp>
          <p:nvSpPr>
            <p:cNvPr id="11" name="Rectangle 10">
              <a:extLst>
                <a:ext uri="{FF2B5EF4-FFF2-40B4-BE49-F238E27FC236}">
                  <a16:creationId xmlns:a16="http://schemas.microsoft.com/office/drawing/2014/main" id="{D1536A35-F821-4976-B97E-14766B7C06D5}"/>
                </a:ext>
              </a:extLst>
            </p:cNvPr>
            <p:cNvSpPr/>
            <p:nvPr/>
          </p:nvSpPr>
          <p:spPr>
            <a:xfrm>
              <a:off x="7990310" y="3107154"/>
              <a:ext cx="3316209" cy="72000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2" name="TextBox 11">
              <a:extLst>
                <a:ext uri="{FF2B5EF4-FFF2-40B4-BE49-F238E27FC236}">
                  <a16:creationId xmlns:a16="http://schemas.microsoft.com/office/drawing/2014/main" id="{900280F0-6270-44F9-9A2B-FF2EF74A756B}"/>
                </a:ext>
              </a:extLst>
            </p:cNvPr>
            <p:cNvSpPr txBox="1"/>
            <p:nvPr/>
          </p:nvSpPr>
          <p:spPr>
            <a:xfrm>
              <a:off x="7990310" y="3107154"/>
              <a:ext cx="3316209" cy="72000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933450">
                <a:lnSpc>
                  <a:spcPct val="100000"/>
                </a:lnSpc>
                <a:spcBef>
                  <a:spcPct val="0"/>
                </a:spcBef>
                <a:spcAft>
                  <a:spcPct val="35000"/>
                </a:spcAft>
                <a:buNone/>
              </a:pPr>
              <a:r>
                <a:rPr lang="en-US" sz="2100" kern="1200" baseline="0">
                  <a:latin typeface="Segoe UI Light" panose="020B0502040204020203" pitchFamily="34" charset="0"/>
                  <a:ea typeface="+mn-ea"/>
                  <a:cs typeface="Segoe UI Light" panose="020B0502040204020203" pitchFamily="34" charset="0"/>
                </a:rPr>
                <a:t>Change the Performance Level</a:t>
              </a:r>
            </a:p>
          </p:txBody>
        </p:sp>
      </p:grpSp>
    </p:spTree>
    <p:extLst>
      <p:ext uri="{BB962C8B-B14F-4D97-AF65-F5344CB8AC3E}">
        <p14:creationId xmlns:p14="http://schemas.microsoft.com/office/powerpoint/2010/main" val="12456757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0134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Changing Performance Levels (DTU)</a:t>
            </a:r>
          </a:p>
        </p:txBody>
      </p:sp>
      <p:graphicFrame>
        <p:nvGraphicFramePr>
          <p:cNvPr id="5" name="Content Placeholder 4">
            <a:extLst>
              <a:ext uri="{FF2B5EF4-FFF2-40B4-BE49-F238E27FC236}">
                <a16:creationId xmlns:a16="http://schemas.microsoft.com/office/drawing/2014/main" id="{E45287CD-7850-4655-A12E-288B214D9518}"/>
              </a:ext>
            </a:extLst>
          </p:cNvPr>
          <p:cNvGraphicFramePr>
            <a:graphicFrameLocks noGrp="1"/>
          </p:cNvGraphicFramePr>
          <p:nvPr>
            <p:ph sz="quarter" idx="13"/>
            <p:extLst>
              <p:ext uri="{D42A27DB-BD31-4B8C-83A1-F6EECF244321}">
                <p14:modId xmlns:p14="http://schemas.microsoft.com/office/powerpoint/2010/main" val="1040108114"/>
              </p:ext>
            </p:extLst>
          </p:nvPr>
        </p:nvGraphicFramePr>
        <p:xfrm>
          <a:off x="655638" y="1408114"/>
          <a:ext cx="3840162"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a:extLst>
              <a:ext uri="{FF2B5EF4-FFF2-40B4-BE49-F238E27FC236}">
                <a16:creationId xmlns:a16="http://schemas.microsoft.com/office/drawing/2014/main" id="{5079C15D-FD05-4DAC-B391-61FCDF0AF5E5}"/>
              </a:ext>
            </a:extLst>
          </p:cNvPr>
          <p:cNvPicPr>
            <a:picLocks noChangeAspect="1"/>
          </p:cNvPicPr>
          <p:nvPr/>
        </p:nvPicPr>
        <p:blipFill>
          <a:blip r:embed="rId8"/>
          <a:stretch>
            <a:fillRect/>
          </a:stretch>
        </p:blipFill>
        <p:spPr>
          <a:xfrm>
            <a:off x="5160498" y="1408114"/>
            <a:ext cx="6650466" cy="481965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3987362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Changing Performance Levels (</a:t>
            </a:r>
            <a:r>
              <a:rPr lang="en-US" dirty="0" err="1"/>
              <a:t>vCore</a:t>
            </a:r>
            <a:r>
              <a:rPr lang="en-US" dirty="0"/>
              <a:t>)</a:t>
            </a:r>
          </a:p>
        </p:txBody>
      </p:sp>
      <p:pic>
        <p:nvPicPr>
          <p:cNvPr id="7" name="Picture 6">
            <a:extLst>
              <a:ext uri="{FF2B5EF4-FFF2-40B4-BE49-F238E27FC236}">
                <a16:creationId xmlns:a16="http://schemas.microsoft.com/office/drawing/2014/main" id="{5F0B853E-366A-4A8B-989A-CB88486BCF46}"/>
              </a:ext>
            </a:extLst>
          </p:cNvPr>
          <p:cNvPicPr>
            <a:picLocks noChangeAspect="1"/>
          </p:cNvPicPr>
          <p:nvPr/>
        </p:nvPicPr>
        <p:blipFill>
          <a:blip r:embed="rId3"/>
          <a:stretch>
            <a:fillRect/>
          </a:stretch>
        </p:blipFill>
        <p:spPr>
          <a:xfrm>
            <a:off x="5160498" y="1295400"/>
            <a:ext cx="6375864" cy="4615916"/>
          </a:xfrm>
          <a:prstGeom prst="rect">
            <a:avLst/>
          </a:prstGeom>
          <a:ln>
            <a:noFill/>
          </a:ln>
          <a:effectLst>
            <a:outerShdw blurRad="190500" algn="tl" rotWithShape="0">
              <a:srgbClr val="000000">
                <a:alpha val="70000"/>
              </a:srgbClr>
            </a:outerShdw>
          </a:effectLst>
        </p:spPr>
      </p:pic>
      <p:graphicFrame>
        <p:nvGraphicFramePr>
          <p:cNvPr id="8" name="Content Placeholder 7">
            <a:extLst>
              <a:ext uri="{FF2B5EF4-FFF2-40B4-BE49-F238E27FC236}">
                <a16:creationId xmlns:a16="http://schemas.microsoft.com/office/drawing/2014/main" id="{4FD52D02-547A-4E62-A617-DE934C045434}"/>
              </a:ext>
            </a:extLst>
          </p:cNvPr>
          <p:cNvGraphicFramePr>
            <a:graphicFrameLocks noGrp="1"/>
          </p:cNvGraphicFramePr>
          <p:nvPr>
            <p:ph sz="quarter" idx="13"/>
            <p:extLst>
              <p:ext uri="{D42A27DB-BD31-4B8C-83A1-F6EECF244321}">
                <p14:modId xmlns:p14="http://schemas.microsoft.com/office/powerpoint/2010/main" val="2740266091"/>
              </p:ext>
            </p:extLst>
          </p:nvPr>
        </p:nvGraphicFramePr>
        <p:xfrm>
          <a:off x="655638" y="1428750"/>
          <a:ext cx="3840162"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302925450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Changing Performance Levels (New Layout)</a:t>
            </a:r>
          </a:p>
        </p:txBody>
      </p:sp>
      <p:pic>
        <p:nvPicPr>
          <p:cNvPr id="4" name="Picture 3">
            <a:extLst>
              <a:ext uri="{FF2B5EF4-FFF2-40B4-BE49-F238E27FC236}">
                <a16:creationId xmlns:a16="http://schemas.microsoft.com/office/drawing/2014/main" id="{79EDA4CA-740D-41C4-8C28-FE3163270A82}"/>
              </a:ext>
            </a:extLst>
          </p:cNvPr>
          <p:cNvPicPr>
            <a:picLocks noChangeAspect="1"/>
          </p:cNvPicPr>
          <p:nvPr/>
        </p:nvPicPr>
        <p:blipFill>
          <a:blip r:embed="rId3"/>
          <a:stretch>
            <a:fillRect/>
          </a:stretch>
        </p:blipFill>
        <p:spPr>
          <a:xfrm>
            <a:off x="1600200" y="1219200"/>
            <a:ext cx="9269851" cy="5231314"/>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0453163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461665"/>
          </a:xfrm>
        </p:spPr>
        <p:txBody>
          <a:bodyPr/>
          <a:lstStyle/>
          <a:p>
            <a:r>
              <a:rPr lang="en-US" dirty="0"/>
              <a:t>Impact of Database Changes</a:t>
            </a:r>
          </a:p>
        </p:txBody>
      </p:sp>
      <p:graphicFrame>
        <p:nvGraphicFramePr>
          <p:cNvPr id="5" name="Content Placeholder 3">
            <a:extLst>
              <a:ext uri="{FF2B5EF4-FFF2-40B4-BE49-F238E27FC236}">
                <a16:creationId xmlns:a16="http://schemas.microsoft.com/office/drawing/2014/main" id="{3ED871D8-C51E-45A6-9123-272AA70F089C}"/>
              </a:ext>
            </a:extLst>
          </p:cNvPr>
          <p:cNvGraphicFramePr>
            <a:graphicFrameLocks/>
          </p:cNvGraphicFramePr>
          <p:nvPr>
            <p:extLst>
              <p:ext uri="{D42A27DB-BD31-4B8C-83A1-F6EECF244321}">
                <p14:modId xmlns:p14="http://schemas.microsoft.com/office/powerpoint/2010/main" val="1668589306"/>
              </p:ext>
            </p:extLst>
          </p:nvPr>
        </p:nvGraphicFramePr>
        <p:xfrm>
          <a:off x="655635" y="1462934"/>
          <a:ext cx="10880727" cy="505160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27541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Impact of Database Changes (continued)</a:t>
            </a:r>
          </a:p>
        </p:txBody>
      </p:sp>
      <p:graphicFrame>
        <p:nvGraphicFramePr>
          <p:cNvPr id="9" name="Content Placeholder 3">
            <a:extLst>
              <a:ext uri="{FF2B5EF4-FFF2-40B4-BE49-F238E27FC236}">
                <a16:creationId xmlns:a16="http://schemas.microsoft.com/office/drawing/2014/main" id="{FAC3A7AF-68B2-40C4-9219-29AFB53C5649}"/>
              </a:ext>
            </a:extLst>
          </p:cNvPr>
          <p:cNvGraphicFramePr>
            <a:graphicFrameLocks/>
          </p:cNvGraphicFramePr>
          <p:nvPr>
            <p:extLst>
              <p:ext uri="{D42A27DB-BD31-4B8C-83A1-F6EECF244321}">
                <p14:modId xmlns:p14="http://schemas.microsoft.com/office/powerpoint/2010/main" val="3724162466"/>
              </p:ext>
            </p:extLst>
          </p:nvPr>
        </p:nvGraphicFramePr>
        <p:xfrm>
          <a:off x="643606" y="1219201"/>
          <a:ext cx="10880725" cy="4800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9137781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custDataLst>
              <p:tags r:id="rId2"/>
            </p:custDataLst>
          </p:nvPr>
        </p:nvSpPr>
        <p:spPr/>
        <p:txBody>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a:buNone/>
            </a:pPr>
            <a:r>
              <a:rPr lang="en-US" b="1" dirty="0"/>
              <a:t>Scale up an Azure SQL Database</a:t>
            </a:r>
          </a:p>
          <a:p>
            <a:pPr lvl="1"/>
            <a:r>
              <a:rPr lang="en-US" dirty="0"/>
              <a:t>Scale up an Azure SQL Database and verify that the database has moved to the selected pricing tier.</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5"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2167070397"/>
      </p:ext>
    </p:extLst>
  </p:cSld>
  <p:clrMapOvr>
    <a:masterClrMapping/>
  </p:clrMapOvr>
  <p:transition spd="slow"/>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sp>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dirty="0"/>
              <a:t>Scale up or down an Azure SQL Database</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pPr marL="342900" indent="-342900">
              <a:buFont typeface="Arial" panose="020B0604020202020204" pitchFamily="34" charset="0"/>
              <a:buChar char="•"/>
            </a:pPr>
            <a:r>
              <a:rPr lang="en-US" b="1" dirty="0"/>
              <a:t>Exercise 1: </a:t>
            </a:r>
            <a:r>
              <a:rPr lang="en-US" dirty="0"/>
              <a:t>Scale up\down an Azure SQL Database.</a:t>
            </a:r>
          </a:p>
          <a:p>
            <a:pPr marL="342900" indent="-342900">
              <a:buFont typeface="Arial" panose="020B0604020202020204" pitchFamily="34" charset="0"/>
              <a:buChar char="•"/>
            </a:pPr>
            <a:r>
              <a:rPr lang="en-US" b="1" dirty="0"/>
              <a:t>Exercise 2: </a:t>
            </a:r>
            <a:r>
              <a:rPr lang="en-US" dirty="0"/>
              <a:t>Verify the database is at the selected pricing tier.</a:t>
            </a:r>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2147177822"/>
      </p:ext>
    </p:extLst>
  </p:cSld>
  <p:clrMapOvr>
    <a:masterClrMapping/>
  </p:clrMapOvr>
  <p:transition spd="slow"/>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1617064737"/>
      </p:ext>
    </p:extLst>
  </p:cSld>
  <p:clrMapOvr>
    <a:masterClrMapping/>
  </p:clrMapOvr>
  <p:transition spd="slow"/>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2835588757"/>
              </p:ext>
            </p:extLst>
          </p:nvPr>
        </p:nvGraphicFramePr>
        <p:xfrm>
          <a:off x="655638" y="1408113"/>
          <a:ext cx="10880725" cy="21732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468400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graphicEl>
                                              <a:dgm id="{86989247-99F6-4AF2-B76D-35A7CDAFD370}"/>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graphicEl>
                                              <a:dgm id="{7D7555A6-3753-4123-84E9-A9658316A38A}"/>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Dgm bld="one"/>
        </p:bldSub>
      </p:bldGraphic>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en-US" dirty="0"/>
              <a:t>Lesson 3: Maintenance and Scheduling Jobs in Azure SQL Database</a:t>
            </a:r>
          </a:p>
        </p:txBody>
      </p:sp>
    </p:spTree>
    <p:extLst>
      <p:ext uri="{BB962C8B-B14F-4D97-AF65-F5344CB8AC3E}">
        <p14:creationId xmlns:p14="http://schemas.microsoft.com/office/powerpoint/2010/main" val="574958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dirty="0"/>
              <a:t>Learning Units covered in this Module</a:t>
            </a:r>
          </a:p>
        </p:txBody>
      </p:sp>
      <p:sp>
        <p:nvSpPr>
          <p:cNvPr id="3" name="Text Placeholder 2">
            <a:extLst>
              <a:ext uri="{FF2B5EF4-FFF2-40B4-BE49-F238E27FC236}">
                <a16:creationId xmlns:a16="http://schemas.microsoft.com/office/drawing/2014/main" id="{859B2BAE-A383-4E74-B3CF-9AC64DA11727}"/>
              </a:ext>
            </a:extLst>
          </p:cNvPr>
          <p:cNvSpPr>
            <a:spLocks noGrp="1"/>
          </p:cNvSpPr>
          <p:nvPr>
            <p:ph type="body" sz="quarter" idx="10"/>
          </p:nvPr>
        </p:nvSpPr>
        <p:spPr>
          <a:xfrm>
            <a:off x="5008562" y="630238"/>
            <a:ext cx="6726237" cy="5597525"/>
          </a:xfrm>
        </p:spPr>
        <p:txBody>
          <a:bodyPr/>
          <a:lstStyle/>
          <a:p>
            <a:r>
              <a:rPr lang="en-US" dirty="0"/>
              <a:t>Lesson 1: Various Tools to Manage Azure SQL Database</a:t>
            </a:r>
          </a:p>
          <a:p>
            <a:r>
              <a:rPr lang="en-US" dirty="0"/>
              <a:t>Lesson 2: Scaling Azure SQL Databases Up and Down</a:t>
            </a:r>
          </a:p>
          <a:p>
            <a:r>
              <a:rPr lang="en-US" dirty="0"/>
              <a:t>Lesson 3: Maintenance and Scheduling Jobs in Azure SQL Database</a:t>
            </a:r>
          </a:p>
          <a:p>
            <a:r>
              <a:rPr lang="en-US" dirty="0"/>
              <a:t>Lesson 4: Azure SQL Database Read Scale-Out</a:t>
            </a:r>
          </a:p>
        </p:txBody>
      </p:sp>
    </p:spTree>
    <p:extLst>
      <p:ext uri="{BB962C8B-B14F-4D97-AF65-F5344CB8AC3E}">
        <p14:creationId xmlns:p14="http://schemas.microsoft.com/office/powerpoint/2010/main" val="16155601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how to perform maintenance and job scheduling in Azure SQL Database</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314306782"/>
      </p:ext>
    </p:extLst>
  </p:cSld>
  <p:clrMapOvr>
    <a:masterClrMapping/>
  </p:clrMapOvr>
  <p:transition spd="slow"/>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Maintenance Tasks</a:t>
            </a:r>
          </a:p>
        </p:txBody>
      </p:sp>
      <p:sp>
        <p:nvSpPr>
          <p:cNvPr id="5" name="Rectangle: Rounded Corners 4">
            <a:extLst>
              <a:ext uri="{FF2B5EF4-FFF2-40B4-BE49-F238E27FC236}">
                <a16:creationId xmlns:a16="http://schemas.microsoft.com/office/drawing/2014/main" id="{34C0E287-E5C2-4129-A799-3AC13AF13E6C}"/>
              </a:ext>
            </a:extLst>
          </p:cNvPr>
          <p:cNvSpPr/>
          <p:nvPr/>
        </p:nvSpPr>
        <p:spPr>
          <a:xfrm>
            <a:off x="612061" y="1274232"/>
            <a:ext cx="11503739" cy="1442962"/>
          </a:xfrm>
          <a:prstGeom prst="roundRect">
            <a:avLst>
              <a:gd name="adj" fmla="val 10000"/>
            </a:avLst>
          </a:prstGeom>
          <a:noFill/>
          <a:ln>
            <a:noFill/>
          </a:ln>
          <a:effectLst/>
        </p:spPr>
      </p:sp>
      <p:sp>
        <p:nvSpPr>
          <p:cNvPr id="6" name="Rectangle 5" descr="Bulldozer">
            <a:extLst>
              <a:ext uri="{FF2B5EF4-FFF2-40B4-BE49-F238E27FC236}">
                <a16:creationId xmlns:a16="http://schemas.microsoft.com/office/drawing/2014/main" id="{72C4E140-2F19-4F01-AED9-E479ABF42A42}"/>
              </a:ext>
            </a:extLst>
          </p:cNvPr>
          <p:cNvSpPr/>
          <p:nvPr/>
        </p:nvSpPr>
        <p:spPr>
          <a:xfrm>
            <a:off x="1048557" y="1598899"/>
            <a:ext cx="793629" cy="793629"/>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p:spPr>
      </p:sp>
      <p:grpSp>
        <p:nvGrpSpPr>
          <p:cNvPr id="7" name="Group 6">
            <a:extLst>
              <a:ext uri="{FF2B5EF4-FFF2-40B4-BE49-F238E27FC236}">
                <a16:creationId xmlns:a16="http://schemas.microsoft.com/office/drawing/2014/main" id="{C92F3EFE-D088-4F66-A596-FAEED68AEF84}"/>
              </a:ext>
            </a:extLst>
          </p:cNvPr>
          <p:cNvGrpSpPr/>
          <p:nvPr/>
        </p:nvGrpSpPr>
        <p:grpSpPr>
          <a:xfrm>
            <a:off x="2278683" y="1274232"/>
            <a:ext cx="9301256" cy="1442962"/>
            <a:chOff x="1666621" y="616"/>
            <a:chExt cx="9837117" cy="1442962"/>
          </a:xfrm>
        </p:grpSpPr>
        <p:sp>
          <p:nvSpPr>
            <p:cNvPr id="18" name="Rectangle 17">
              <a:extLst>
                <a:ext uri="{FF2B5EF4-FFF2-40B4-BE49-F238E27FC236}">
                  <a16:creationId xmlns:a16="http://schemas.microsoft.com/office/drawing/2014/main" id="{F40EC51A-AF4F-49EC-A2D3-3E3FEB002D2B}"/>
                </a:ext>
              </a:extLst>
            </p:cNvPr>
            <p:cNvSpPr/>
            <p:nvPr/>
          </p:nvSpPr>
          <p:spPr>
            <a:xfrm>
              <a:off x="1666621" y="616"/>
              <a:ext cx="9837117" cy="1442962"/>
            </a:xfrm>
            <a:prstGeom prst="rect">
              <a:avLst/>
            </a:prstGeom>
            <a:noFill/>
            <a:ln>
              <a:noFill/>
            </a:ln>
            <a:effectLst/>
          </p:spPr>
          <p:txBody>
            <a:bodyPr/>
            <a:lstStyle/>
            <a:p>
              <a:endParaRPr lang="en-US" sz="2400" dirty="0">
                <a:latin typeface="Segoe UI" panose="020B0502040204020203" pitchFamily="34" charset="0"/>
              </a:endParaRPr>
            </a:p>
          </p:txBody>
        </p:sp>
        <p:sp>
          <p:nvSpPr>
            <p:cNvPr id="19" name="TextBox 18">
              <a:extLst>
                <a:ext uri="{FF2B5EF4-FFF2-40B4-BE49-F238E27FC236}">
                  <a16:creationId xmlns:a16="http://schemas.microsoft.com/office/drawing/2014/main" id="{FC04C540-6242-423D-BD85-A8A6A734ECD9}"/>
                </a:ext>
              </a:extLst>
            </p:cNvPr>
            <p:cNvSpPr txBox="1"/>
            <p:nvPr/>
          </p:nvSpPr>
          <p:spPr>
            <a:xfrm>
              <a:off x="1666621" y="616"/>
              <a:ext cx="9837117" cy="1442962"/>
            </a:xfrm>
            <a:prstGeom prst="rect">
              <a:avLst/>
            </a:prstGeom>
            <a:noFill/>
            <a:ln>
              <a:noFill/>
            </a:ln>
            <a:effectLst/>
          </p:spPr>
          <p:txBody>
            <a:bodyPr spcFirstLastPara="0" vert="horz" wrap="square" lIns="152713" tIns="152713" rIns="152713" bIns="152713" numCol="1" spcCol="1270" anchor="ctr" anchorCtr="0">
              <a:noAutofit/>
            </a:bodyPr>
            <a:lstStyle/>
            <a:p>
              <a:pPr marL="0" marR="0" lvl="0" indent="0" algn="l" defTabSz="1333500" eaLnBrk="1" fontAlgn="auto" latinLnBrk="0" hangingPunct="1">
                <a:lnSpc>
                  <a:spcPct val="100000"/>
                </a:lnSpc>
                <a:spcBef>
                  <a:spcPct val="0"/>
                </a:spcBef>
                <a:spcAft>
                  <a:spcPct val="35000"/>
                </a:spcAft>
                <a:buClrTx/>
                <a:buSzTx/>
                <a:buFontTx/>
                <a:buNone/>
                <a:tabLst/>
                <a:defRPr/>
              </a:pPr>
              <a:r>
                <a:rPr kumimoji="0" lang="en-US" sz="2400" b="0" i="0" u="none" strike="noStrike" kern="1200" cap="none" spc="0" normalizeH="0" baseline="0" noProof="0" dirty="0">
                  <a:ln>
                    <a:noFill/>
                  </a:ln>
                  <a:effectLst/>
                  <a:uLnTx/>
                  <a:uFillTx/>
                  <a:latin typeface="Segoe UI" panose="020B0502040204020203" pitchFamily="34" charset="0"/>
                  <a:ea typeface="+mn-ea"/>
                  <a:cs typeface="+mn-cs"/>
                </a:rPr>
                <a:t>Index maintenance as is on premises.</a:t>
              </a:r>
            </a:p>
          </p:txBody>
        </p:sp>
      </p:grpSp>
      <p:sp>
        <p:nvSpPr>
          <p:cNvPr id="8" name="Rectangle: Rounded Corners 7">
            <a:extLst>
              <a:ext uri="{FF2B5EF4-FFF2-40B4-BE49-F238E27FC236}">
                <a16:creationId xmlns:a16="http://schemas.microsoft.com/office/drawing/2014/main" id="{203AF98C-245E-45AD-A158-AA82BCA23CD8}"/>
              </a:ext>
            </a:extLst>
          </p:cNvPr>
          <p:cNvSpPr/>
          <p:nvPr/>
        </p:nvSpPr>
        <p:spPr>
          <a:xfrm>
            <a:off x="612061" y="3077935"/>
            <a:ext cx="11503739" cy="1442962"/>
          </a:xfrm>
          <a:prstGeom prst="roundRect">
            <a:avLst>
              <a:gd name="adj" fmla="val 10000"/>
            </a:avLst>
          </a:prstGeom>
          <a:noFill/>
          <a:ln>
            <a:noFill/>
          </a:ln>
          <a:effectLst/>
        </p:spPr>
      </p:sp>
      <p:sp>
        <p:nvSpPr>
          <p:cNvPr id="9" name="Rectangle 8" descr="Run">
            <a:extLst>
              <a:ext uri="{FF2B5EF4-FFF2-40B4-BE49-F238E27FC236}">
                <a16:creationId xmlns:a16="http://schemas.microsoft.com/office/drawing/2014/main" id="{EA4A2FCF-2430-487A-98AA-2248F1E68093}"/>
              </a:ext>
            </a:extLst>
          </p:cNvPr>
          <p:cNvSpPr/>
          <p:nvPr/>
        </p:nvSpPr>
        <p:spPr>
          <a:xfrm>
            <a:off x="1048557" y="3402601"/>
            <a:ext cx="793629" cy="793629"/>
          </a:xfrm>
          <a:prstGeom prst="rect">
            <a:avLst/>
          </a:prstGeom>
          <a: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p:spPr>
      </p:sp>
      <p:grpSp>
        <p:nvGrpSpPr>
          <p:cNvPr id="10" name="Group 9">
            <a:extLst>
              <a:ext uri="{FF2B5EF4-FFF2-40B4-BE49-F238E27FC236}">
                <a16:creationId xmlns:a16="http://schemas.microsoft.com/office/drawing/2014/main" id="{ACF2D095-78A4-4AB5-AA55-D37C468E4080}"/>
              </a:ext>
            </a:extLst>
          </p:cNvPr>
          <p:cNvGrpSpPr/>
          <p:nvPr/>
        </p:nvGrpSpPr>
        <p:grpSpPr>
          <a:xfrm>
            <a:off x="2278683" y="3077935"/>
            <a:ext cx="9301256" cy="1442962"/>
            <a:chOff x="1666621" y="1804319"/>
            <a:chExt cx="9837117" cy="1442962"/>
          </a:xfrm>
        </p:grpSpPr>
        <p:sp>
          <p:nvSpPr>
            <p:cNvPr id="16" name="Rectangle 15">
              <a:extLst>
                <a:ext uri="{FF2B5EF4-FFF2-40B4-BE49-F238E27FC236}">
                  <a16:creationId xmlns:a16="http://schemas.microsoft.com/office/drawing/2014/main" id="{31C3A9BD-6141-4CA1-A10C-D921EF05EB7C}"/>
                </a:ext>
              </a:extLst>
            </p:cNvPr>
            <p:cNvSpPr/>
            <p:nvPr/>
          </p:nvSpPr>
          <p:spPr>
            <a:xfrm>
              <a:off x="1666621" y="1804319"/>
              <a:ext cx="9837117" cy="1442962"/>
            </a:xfrm>
            <a:prstGeom prst="rect">
              <a:avLst/>
            </a:prstGeom>
            <a:noFill/>
            <a:ln>
              <a:noFill/>
            </a:ln>
            <a:effectLst/>
          </p:spPr>
          <p:txBody>
            <a:bodyPr/>
            <a:lstStyle/>
            <a:p>
              <a:endParaRPr lang="en-US" sz="2400" dirty="0">
                <a:latin typeface="Segoe UI" panose="020B0502040204020203" pitchFamily="34" charset="0"/>
              </a:endParaRPr>
            </a:p>
          </p:txBody>
        </p:sp>
        <p:sp>
          <p:nvSpPr>
            <p:cNvPr id="17" name="TextBox 16">
              <a:extLst>
                <a:ext uri="{FF2B5EF4-FFF2-40B4-BE49-F238E27FC236}">
                  <a16:creationId xmlns:a16="http://schemas.microsoft.com/office/drawing/2014/main" id="{751A89A7-0D72-4E36-8B29-8C13965E436C}"/>
                </a:ext>
              </a:extLst>
            </p:cNvPr>
            <p:cNvSpPr txBox="1"/>
            <p:nvPr/>
          </p:nvSpPr>
          <p:spPr>
            <a:xfrm>
              <a:off x="1666621" y="1804319"/>
              <a:ext cx="9837117" cy="1442962"/>
            </a:xfrm>
            <a:prstGeom prst="rect">
              <a:avLst/>
            </a:prstGeom>
            <a:noFill/>
            <a:ln>
              <a:noFill/>
            </a:ln>
            <a:effectLst/>
          </p:spPr>
          <p:txBody>
            <a:bodyPr spcFirstLastPara="0" vert="horz" wrap="square" lIns="152713" tIns="152713" rIns="152713" bIns="152713" numCol="1" spcCol="1270" anchor="ctr" anchorCtr="0">
              <a:noAutofit/>
            </a:bodyPr>
            <a:lstStyle/>
            <a:p>
              <a:pPr marL="0" marR="0" lvl="0" indent="0" algn="l" defTabSz="1333500" eaLnBrk="1" fontAlgn="auto" latinLnBrk="0" hangingPunct="1">
                <a:lnSpc>
                  <a:spcPct val="100000"/>
                </a:lnSpc>
                <a:spcBef>
                  <a:spcPct val="0"/>
                </a:spcBef>
                <a:spcAft>
                  <a:spcPct val="35000"/>
                </a:spcAft>
                <a:buClrTx/>
                <a:buSzTx/>
                <a:buFontTx/>
                <a:buNone/>
                <a:tabLst/>
                <a:defRPr/>
              </a:pPr>
              <a:r>
                <a:rPr kumimoji="0" lang="en-US" sz="2400" b="0" i="0" u="none" strike="noStrike" kern="1200" cap="none" spc="0" normalizeH="0" baseline="0" noProof="0" dirty="0">
                  <a:ln>
                    <a:noFill/>
                  </a:ln>
                  <a:effectLst/>
                  <a:uLnTx/>
                  <a:uFillTx/>
                  <a:latin typeface="Segoe UI" panose="020B0502040204020203" pitchFamily="34" charset="0"/>
                  <a:ea typeface="+mn-ea"/>
                  <a:cs typeface="+mn-cs"/>
                </a:rPr>
                <a:t>Update statistics as is on premises.</a:t>
              </a:r>
            </a:p>
          </p:txBody>
        </p:sp>
      </p:grpSp>
      <p:sp>
        <p:nvSpPr>
          <p:cNvPr id="11" name="Rectangle: Rounded Corners 10">
            <a:extLst>
              <a:ext uri="{FF2B5EF4-FFF2-40B4-BE49-F238E27FC236}">
                <a16:creationId xmlns:a16="http://schemas.microsoft.com/office/drawing/2014/main" id="{6D7F6F91-CC25-4A40-A8FA-68CBA434AC28}"/>
              </a:ext>
            </a:extLst>
          </p:cNvPr>
          <p:cNvSpPr/>
          <p:nvPr/>
        </p:nvSpPr>
        <p:spPr>
          <a:xfrm>
            <a:off x="612061" y="4881638"/>
            <a:ext cx="11503739" cy="1442962"/>
          </a:xfrm>
          <a:prstGeom prst="roundRect">
            <a:avLst>
              <a:gd name="adj" fmla="val 10000"/>
            </a:avLst>
          </a:prstGeom>
          <a:noFill/>
          <a:ln>
            <a:noFill/>
          </a:ln>
          <a:effectLst/>
        </p:spPr>
      </p:sp>
      <p:sp>
        <p:nvSpPr>
          <p:cNvPr id="12" name="Rectangle 11" descr="Bar Graph with Upward Trend">
            <a:extLst>
              <a:ext uri="{FF2B5EF4-FFF2-40B4-BE49-F238E27FC236}">
                <a16:creationId xmlns:a16="http://schemas.microsoft.com/office/drawing/2014/main" id="{5764E9E6-5765-49B2-ABB7-2E0A9E889DBF}"/>
              </a:ext>
            </a:extLst>
          </p:cNvPr>
          <p:cNvSpPr/>
          <p:nvPr/>
        </p:nvSpPr>
        <p:spPr>
          <a:xfrm>
            <a:off x="1048557" y="5206304"/>
            <a:ext cx="793629" cy="793629"/>
          </a:xfrm>
          <a:prstGeom prst="rect">
            <a:avLst/>
          </a:prstGeom>
          <a: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0795" cap="flat" cmpd="sng" algn="ctr">
            <a:noFill/>
            <a:prstDash val="solid"/>
          </a:ln>
        </p:spPr>
      </p:sp>
      <p:grpSp>
        <p:nvGrpSpPr>
          <p:cNvPr id="13" name="Group 12">
            <a:extLst>
              <a:ext uri="{FF2B5EF4-FFF2-40B4-BE49-F238E27FC236}">
                <a16:creationId xmlns:a16="http://schemas.microsoft.com/office/drawing/2014/main" id="{3E637152-E974-4725-A09D-FC299BCBD715}"/>
              </a:ext>
            </a:extLst>
          </p:cNvPr>
          <p:cNvGrpSpPr/>
          <p:nvPr/>
        </p:nvGrpSpPr>
        <p:grpSpPr>
          <a:xfrm>
            <a:off x="2278683" y="4881638"/>
            <a:ext cx="9301256" cy="1442962"/>
            <a:chOff x="1666621" y="3608022"/>
            <a:chExt cx="9837117" cy="1442962"/>
          </a:xfrm>
        </p:grpSpPr>
        <p:sp>
          <p:nvSpPr>
            <p:cNvPr id="14" name="Rectangle 13">
              <a:extLst>
                <a:ext uri="{FF2B5EF4-FFF2-40B4-BE49-F238E27FC236}">
                  <a16:creationId xmlns:a16="http://schemas.microsoft.com/office/drawing/2014/main" id="{D918E1B1-0EC5-4055-9013-D16D819A5607}"/>
                </a:ext>
              </a:extLst>
            </p:cNvPr>
            <p:cNvSpPr/>
            <p:nvPr/>
          </p:nvSpPr>
          <p:spPr>
            <a:xfrm>
              <a:off x="1666621" y="3608022"/>
              <a:ext cx="9837117" cy="1442962"/>
            </a:xfrm>
            <a:prstGeom prst="rect">
              <a:avLst/>
            </a:prstGeom>
            <a:noFill/>
            <a:ln>
              <a:noFill/>
            </a:ln>
            <a:effectLst/>
          </p:spPr>
          <p:txBody>
            <a:bodyPr/>
            <a:lstStyle/>
            <a:p>
              <a:endParaRPr lang="en-US" sz="2400" dirty="0">
                <a:latin typeface="Segoe UI" panose="020B0502040204020203" pitchFamily="34" charset="0"/>
              </a:endParaRPr>
            </a:p>
          </p:txBody>
        </p:sp>
        <p:sp>
          <p:nvSpPr>
            <p:cNvPr id="15" name="TextBox 14">
              <a:extLst>
                <a:ext uri="{FF2B5EF4-FFF2-40B4-BE49-F238E27FC236}">
                  <a16:creationId xmlns:a16="http://schemas.microsoft.com/office/drawing/2014/main" id="{5BE74010-EABC-45B1-B407-1562512BD5D0}"/>
                </a:ext>
              </a:extLst>
            </p:cNvPr>
            <p:cNvSpPr txBox="1"/>
            <p:nvPr/>
          </p:nvSpPr>
          <p:spPr>
            <a:xfrm>
              <a:off x="1666621" y="3608022"/>
              <a:ext cx="9837117" cy="1442962"/>
            </a:xfrm>
            <a:prstGeom prst="rect">
              <a:avLst/>
            </a:prstGeom>
            <a:noFill/>
            <a:ln>
              <a:noFill/>
            </a:ln>
            <a:effectLst/>
          </p:spPr>
          <p:txBody>
            <a:bodyPr spcFirstLastPara="0" vert="horz" wrap="square" lIns="152713" tIns="152713" rIns="152713" bIns="152713" numCol="1" spcCol="1270" anchor="ctr" anchorCtr="0">
              <a:noAutofit/>
            </a:bodyPr>
            <a:lstStyle/>
            <a:p>
              <a:pPr marL="0" marR="0" lvl="0" indent="0" algn="l" defTabSz="1333500" eaLnBrk="1" fontAlgn="auto" latinLnBrk="0" hangingPunct="1">
                <a:lnSpc>
                  <a:spcPct val="100000"/>
                </a:lnSpc>
                <a:spcBef>
                  <a:spcPct val="0"/>
                </a:spcBef>
                <a:spcAft>
                  <a:spcPct val="35000"/>
                </a:spcAft>
                <a:buClrTx/>
                <a:buSzTx/>
                <a:buFontTx/>
                <a:buNone/>
                <a:tabLst/>
                <a:defRPr/>
              </a:pPr>
              <a:r>
                <a:rPr kumimoji="0" lang="en-US" sz="2400" b="0" i="0" u="none" strike="noStrike" kern="1200" cap="none" spc="0" normalizeH="0" baseline="0" noProof="0" dirty="0">
                  <a:ln>
                    <a:noFill/>
                  </a:ln>
                  <a:effectLst/>
                  <a:uLnTx/>
                  <a:uFillTx/>
                  <a:latin typeface="Segoe UI" panose="020B0502040204020203" pitchFamily="34" charset="0"/>
                  <a:ea typeface="+mn-ea"/>
                  <a:cs typeface="+mn-cs"/>
                </a:rPr>
                <a:t>Support for running DBCC CHECKDB.</a:t>
              </a:r>
            </a:p>
          </p:txBody>
        </p:sp>
      </p:grpSp>
    </p:spTree>
    <p:extLst>
      <p:ext uri="{BB962C8B-B14F-4D97-AF65-F5344CB8AC3E}">
        <p14:creationId xmlns:p14="http://schemas.microsoft.com/office/powerpoint/2010/main" val="424883829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1E48F7-A4C3-4471-8C8C-4759EF7B8B35}"/>
              </a:ext>
            </a:extLst>
          </p:cNvPr>
          <p:cNvSpPr>
            <a:spLocks noGrp="1"/>
          </p:cNvSpPr>
          <p:nvPr>
            <p:ph type="title"/>
          </p:nvPr>
        </p:nvSpPr>
        <p:spPr/>
        <p:txBody>
          <a:bodyPr/>
          <a:lstStyle/>
          <a:p>
            <a:r>
              <a:rPr lang="en-US" dirty="0"/>
              <a:t>What are Elastic Database Jobs?</a:t>
            </a:r>
          </a:p>
        </p:txBody>
      </p:sp>
      <p:graphicFrame>
        <p:nvGraphicFramePr>
          <p:cNvPr id="6" name="Diagram 5">
            <a:extLst>
              <a:ext uri="{FF2B5EF4-FFF2-40B4-BE49-F238E27FC236}">
                <a16:creationId xmlns:a16="http://schemas.microsoft.com/office/drawing/2014/main" id="{9B6CA25F-8695-4051-B21D-C110DEC44A1A}"/>
              </a:ext>
            </a:extLst>
          </p:cNvPr>
          <p:cNvGraphicFramePr/>
          <p:nvPr>
            <p:extLst>
              <p:ext uri="{D42A27DB-BD31-4B8C-83A1-F6EECF244321}">
                <p14:modId xmlns:p14="http://schemas.microsoft.com/office/powerpoint/2010/main" val="437814781"/>
              </p:ext>
            </p:extLst>
          </p:nvPr>
        </p:nvGraphicFramePr>
        <p:xfrm>
          <a:off x="655635" y="1600200"/>
          <a:ext cx="4297365" cy="43198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a:extLst>
              <a:ext uri="{FF2B5EF4-FFF2-40B4-BE49-F238E27FC236}">
                <a16:creationId xmlns:a16="http://schemas.microsoft.com/office/drawing/2014/main" id="{78772CA4-B940-46B6-A71F-D66150F6AAF0}"/>
              </a:ext>
            </a:extLst>
          </p:cNvPr>
          <p:cNvPicPr>
            <a:picLocks noChangeAspect="1"/>
          </p:cNvPicPr>
          <p:nvPr/>
        </p:nvPicPr>
        <p:blipFill>
          <a:blip r:embed="rId8"/>
          <a:stretch>
            <a:fillRect/>
          </a:stretch>
        </p:blipFill>
        <p:spPr>
          <a:xfrm>
            <a:off x="5257800" y="1600200"/>
            <a:ext cx="6645766" cy="4167475"/>
          </a:xfrm>
          <a:prstGeom prst="rect">
            <a:avLst/>
          </a:prstGeom>
        </p:spPr>
      </p:pic>
    </p:spTree>
    <p:extLst>
      <p:ext uri="{BB962C8B-B14F-4D97-AF65-F5344CB8AC3E}">
        <p14:creationId xmlns:p14="http://schemas.microsoft.com/office/powerpoint/2010/main" val="281160834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1E48F7-A4C3-4471-8C8C-4759EF7B8B35}"/>
              </a:ext>
            </a:extLst>
          </p:cNvPr>
          <p:cNvSpPr>
            <a:spLocks noGrp="1"/>
          </p:cNvSpPr>
          <p:nvPr>
            <p:ph type="title"/>
          </p:nvPr>
        </p:nvSpPr>
        <p:spPr/>
        <p:txBody>
          <a:bodyPr/>
          <a:lstStyle/>
          <a:p>
            <a:r>
              <a:rPr lang="en-US" dirty="0"/>
              <a:t>Why use Elastic Jobs?</a:t>
            </a:r>
          </a:p>
        </p:txBody>
      </p:sp>
      <p:graphicFrame>
        <p:nvGraphicFramePr>
          <p:cNvPr id="4" name="Content Placeholder 3">
            <a:extLst>
              <a:ext uri="{FF2B5EF4-FFF2-40B4-BE49-F238E27FC236}">
                <a16:creationId xmlns:a16="http://schemas.microsoft.com/office/drawing/2014/main" id="{032DE333-81A8-45DD-B994-D3460A86473B}"/>
              </a:ext>
            </a:extLst>
          </p:cNvPr>
          <p:cNvGraphicFramePr>
            <a:graphicFrameLocks noGrp="1"/>
          </p:cNvGraphicFramePr>
          <p:nvPr>
            <p:ph sz="quarter" idx="13"/>
            <p:extLst>
              <p:ext uri="{D42A27DB-BD31-4B8C-83A1-F6EECF244321}">
                <p14:modId xmlns:p14="http://schemas.microsoft.com/office/powerpoint/2010/main" val="116863011"/>
              </p:ext>
            </p:extLst>
          </p:nvPr>
        </p:nvGraphicFramePr>
        <p:xfrm>
          <a:off x="655638" y="1066800"/>
          <a:ext cx="10880726" cy="516096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3619420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1E48F7-A4C3-4471-8C8C-4759EF7B8B35}"/>
              </a:ext>
            </a:extLst>
          </p:cNvPr>
          <p:cNvSpPr>
            <a:spLocks noGrp="1"/>
          </p:cNvSpPr>
          <p:nvPr>
            <p:ph type="title"/>
          </p:nvPr>
        </p:nvSpPr>
        <p:spPr/>
        <p:txBody>
          <a:bodyPr/>
          <a:lstStyle/>
          <a:p>
            <a:r>
              <a:rPr lang="en-US" dirty="0"/>
              <a:t>Elastic Job Components</a:t>
            </a:r>
          </a:p>
        </p:txBody>
      </p:sp>
      <p:sp>
        <p:nvSpPr>
          <p:cNvPr id="3" name="Content Placeholder 2">
            <a:extLst>
              <a:ext uri="{FF2B5EF4-FFF2-40B4-BE49-F238E27FC236}">
                <a16:creationId xmlns:a16="http://schemas.microsoft.com/office/drawing/2014/main" id="{7EC492B1-CA18-4AEC-B486-A1D60C0F6202}"/>
              </a:ext>
            </a:extLst>
          </p:cNvPr>
          <p:cNvSpPr>
            <a:spLocks noGrp="1"/>
          </p:cNvSpPr>
          <p:nvPr>
            <p:ph sz="quarter" idx="13"/>
          </p:nvPr>
        </p:nvSpPr>
        <p:spPr/>
        <p:txBody>
          <a:bodyPr/>
          <a:lstStyle/>
          <a:p>
            <a:endParaRPr lang="en-US" dirty="0"/>
          </a:p>
        </p:txBody>
      </p:sp>
      <p:graphicFrame>
        <p:nvGraphicFramePr>
          <p:cNvPr id="4" name="Table 3">
            <a:extLst>
              <a:ext uri="{FF2B5EF4-FFF2-40B4-BE49-F238E27FC236}">
                <a16:creationId xmlns:a16="http://schemas.microsoft.com/office/drawing/2014/main" id="{378E54A6-E156-4102-85DC-94009EE3D922}"/>
              </a:ext>
            </a:extLst>
          </p:cNvPr>
          <p:cNvGraphicFramePr>
            <a:graphicFrameLocks noGrp="1"/>
          </p:cNvGraphicFramePr>
          <p:nvPr>
            <p:extLst>
              <p:ext uri="{D42A27DB-BD31-4B8C-83A1-F6EECF244321}">
                <p14:modId xmlns:p14="http://schemas.microsoft.com/office/powerpoint/2010/main" val="3678884838"/>
              </p:ext>
            </p:extLst>
          </p:nvPr>
        </p:nvGraphicFramePr>
        <p:xfrm>
          <a:off x="655636" y="1143000"/>
          <a:ext cx="10880725" cy="5084765"/>
        </p:xfrm>
        <a:graphic>
          <a:graphicData uri="http://schemas.openxmlformats.org/drawingml/2006/table">
            <a:tbl>
              <a:tblPr firstRow="1" bandRow="1">
                <a:tableStyleId>{B301B821-A1FF-4177-AEE7-76D212191A09}</a:tableStyleId>
              </a:tblPr>
              <a:tblGrid>
                <a:gridCol w="2640525">
                  <a:extLst>
                    <a:ext uri="{9D8B030D-6E8A-4147-A177-3AD203B41FA5}">
                      <a16:colId xmlns:a16="http://schemas.microsoft.com/office/drawing/2014/main" val="2877304337"/>
                    </a:ext>
                  </a:extLst>
                </a:gridCol>
                <a:gridCol w="8240200">
                  <a:extLst>
                    <a:ext uri="{9D8B030D-6E8A-4147-A177-3AD203B41FA5}">
                      <a16:colId xmlns:a16="http://schemas.microsoft.com/office/drawing/2014/main" val="2011132763"/>
                    </a:ext>
                  </a:extLst>
                </a:gridCol>
              </a:tblGrid>
              <a:tr h="620093">
                <a:tc>
                  <a:txBody>
                    <a:bodyPr/>
                    <a:lstStyle>
                      <a:lvl1pPr marL="0" algn="l" defTabSz="914400" rtl="0" eaLnBrk="1" latinLnBrk="0" hangingPunct="1">
                        <a:defRPr sz="1800" b="1" kern="1200">
                          <a:solidFill>
                            <a:schemeClr val="lt1"/>
                          </a:solidFill>
                          <a:latin typeface="Segoe UI"/>
                        </a:defRPr>
                      </a:lvl1pPr>
                      <a:lvl2pPr marL="457200" algn="l" defTabSz="914400" rtl="0" eaLnBrk="1" latinLnBrk="0" hangingPunct="1">
                        <a:defRPr sz="1800" b="1" kern="1200">
                          <a:solidFill>
                            <a:schemeClr val="lt1"/>
                          </a:solidFill>
                          <a:latin typeface="Segoe UI"/>
                        </a:defRPr>
                      </a:lvl2pPr>
                      <a:lvl3pPr marL="914400" algn="l" defTabSz="914400" rtl="0" eaLnBrk="1" latinLnBrk="0" hangingPunct="1">
                        <a:defRPr sz="1800" b="1" kern="1200">
                          <a:solidFill>
                            <a:schemeClr val="lt1"/>
                          </a:solidFill>
                          <a:latin typeface="Segoe UI"/>
                        </a:defRPr>
                      </a:lvl3pPr>
                      <a:lvl4pPr marL="1371600" algn="l" defTabSz="914400" rtl="0" eaLnBrk="1" latinLnBrk="0" hangingPunct="1">
                        <a:defRPr sz="1800" b="1" kern="1200">
                          <a:solidFill>
                            <a:schemeClr val="lt1"/>
                          </a:solidFill>
                          <a:latin typeface="Segoe UI"/>
                        </a:defRPr>
                      </a:lvl4pPr>
                      <a:lvl5pPr marL="1828800" algn="l" defTabSz="914400" rtl="0" eaLnBrk="1" latinLnBrk="0" hangingPunct="1">
                        <a:defRPr sz="1800" b="1" kern="1200">
                          <a:solidFill>
                            <a:schemeClr val="lt1"/>
                          </a:solidFill>
                          <a:latin typeface="Segoe UI"/>
                        </a:defRPr>
                      </a:lvl5pPr>
                      <a:lvl6pPr marL="2286000" algn="l" defTabSz="914400" rtl="0" eaLnBrk="1" latinLnBrk="0" hangingPunct="1">
                        <a:defRPr sz="1800" b="1" kern="1200">
                          <a:solidFill>
                            <a:schemeClr val="lt1"/>
                          </a:solidFill>
                          <a:latin typeface="Segoe UI"/>
                        </a:defRPr>
                      </a:lvl6pPr>
                      <a:lvl7pPr marL="2743200" algn="l" defTabSz="914400" rtl="0" eaLnBrk="1" latinLnBrk="0" hangingPunct="1">
                        <a:defRPr sz="1800" b="1" kern="1200">
                          <a:solidFill>
                            <a:schemeClr val="lt1"/>
                          </a:solidFill>
                          <a:latin typeface="Segoe UI"/>
                        </a:defRPr>
                      </a:lvl7pPr>
                      <a:lvl8pPr marL="3200400" algn="l" defTabSz="914400" rtl="0" eaLnBrk="1" latinLnBrk="0" hangingPunct="1">
                        <a:defRPr sz="1800" b="1" kern="1200">
                          <a:solidFill>
                            <a:schemeClr val="lt1"/>
                          </a:solidFill>
                          <a:latin typeface="Segoe UI"/>
                        </a:defRPr>
                      </a:lvl8pPr>
                      <a:lvl9pPr marL="3657600" algn="l" defTabSz="914400" rtl="0" eaLnBrk="1" latinLnBrk="0" hangingPunct="1">
                        <a:defRPr sz="1800" b="1" kern="1200">
                          <a:solidFill>
                            <a:schemeClr val="lt1"/>
                          </a:solidFill>
                          <a:latin typeface="Segoe UI"/>
                        </a:defRPr>
                      </a:lvl9pPr>
                    </a:lstStyle>
                    <a:p>
                      <a:r>
                        <a:rPr lang="nl-BE" sz="2400"/>
                        <a:t>Component</a:t>
                      </a:r>
                    </a:p>
                  </a:txBody>
                  <a:tcPr>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b="1" kern="1200">
                          <a:solidFill>
                            <a:schemeClr val="lt1"/>
                          </a:solidFill>
                          <a:latin typeface="Segoe UI"/>
                        </a:defRPr>
                      </a:lvl1pPr>
                      <a:lvl2pPr marL="457200" algn="l" defTabSz="914400" rtl="0" eaLnBrk="1" latinLnBrk="0" hangingPunct="1">
                        <a:defRPr sz="1800" b="1" kern="1200">
                          <a:solidFill>
                            <a:schemeClr val="lt1"/>
                          </a:solidFill>
                          <a:latin typeface="Segoe UI"/>
                        </a:defRPr>
                      </a:lvl2pPr>
                      <a:lvl3pPr marL="914400" algn="l" defTabSz="914400" rtl="0" eaLnBrk="1" latinLnBrk="0" hangingPunct="1">
                        <a:defRPr sz="1800" b="1" kern="1200">
                          <a:solidFill>
                            <a:schemeClr val="lt1"/>
                          </a:solidFill>
                          <a:latin typeface="Segoe UI"/>
                        </a:defRPr>
                      </a:lvl3pPr>
                      <a:lvl4pPr marL="1371600" algn="l" defTabSz="914400" rtl="0" eaLnBrk="1" latinLnBrk="0" hangingPunct="1">
                        <a:defRPr sz="1800" b="1" kern="1200">
                          <a:solidFill>
                            <a:schemeClr val="lt1"/>
                          </a:solidFill>
                          <a:latin typeface="Segoe UI"/>
                        </a:defRPr>
                      </a:lvl4pPr>
                      <a:lvl5pPr marL="1828800" algn="l" defTabSz="914400" rtl="0" eaLnBrk="1" latinLnBrk="0" hangingPunct="1">
                        <a:defRPr sz="1800" b="1" kern="1200">
                          <a:solidFill>
                            <a:schemeClr val="lt1"/>
                          </a:solidFill>
                          <a:latin typeface="Segoe UI"/>
                        </a:defRPr>
                      </a:lvl5pPr>
                      <a:lvl6pPr marL="2286000" algn="l" defTabSz="914400" rtl="0" eaLnBrk="1" latinLnBrk="0" hangingPunct="1">
                        <a:defRPr sz="1800" b="1" kern="1200">
                          <a:solidFill>
                            <a:schemeClr val="lt1"/>
                          </a:solidFill>
                          <a:latin typeface="Segoe UI"/>
                        </a:defRPr>
                      </a:lvl6pPr>
                      <a:lvl7pPr marL="2743200" algn="l" defTabSz="914400" rtl="0" eaLnBrk="1" latinLnBrk="0" hangingPunct="1">
                        <a:defRPr sz="1800" b="1" kern="1200">
                          <a:solidFill>
                            <a:schemeClr val="lt1"/>
                          </a:solidFill>
                          <a:latin typeface="Segoe UI"/>
                        </a:defRPr>
                      </a:lvl7pPr>
                      <a:lvl8pPr marL="3200400" algn="l" defTabSz="914400" rtl="0" eaLnBrk="1" latinLnBrk="0" hangingPunct="1">
                        <a:defRPr sz="1800" b="1" kern="1200">
                          <a:solidFill>
                            <a:schemeClr val="lt1"/>
                          </a:solidFill>
                          <a:latin typeface="Segoe UI"/>
                        </a:defRPr>
                      </a:lvl8pPr>
                      <a:lvl9pPr marL="3657600" algn="l" defTabSz="914400" rtl="0" eaLnBrk="1" latinLnBrk="0" hangingPunct="1">
                        <a:defRPr sz="1800" b="1" kern="1200">
                          <a:solidFill>
                            <a:schemeClr val="lt1"/>
                          </a:solidFill>
                          <a:latin typeface="Segoe UI"/>
                        </a:defRPr>
                      </a:lvl9pPr>
                    </a:lstStyle>
                    <a:p>
                      <a:r>
                        <a:rPr lang="nl-BE" sz="2400" dirty="0"/>
                        <a:t>Description</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44843924"/>
                  </a:ext>
                </a:extLst>
              </a:tr>
              <a:tr h="620093">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r>
                        <a:rPr lang="nl-BE" sz="2400" dirty="0"/>
                        <a:t>Elastic Job Ag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r>
                        <a:rPr lang="en-US" sz="2400" dirty="0"/>
                        <a:t>The Azure resource you create to run and manage Jobs.</a:t>
                      </a:r>
                      <a:endParaRPr lang="nl-BE" sz="2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47704500"/>
                  </a:ext>
                </a:extLst>
              </a:tr>
              <a:tr h="111616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r>
                        <a:rPr lang="nl-BE" sz="2400"/>
                        <a:t>Job Databas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r>
                        <a:rPr lang="en-US" sz="2400" dirty="0"/>
                        <a:t>An Azure SQL database the job agent uses to store job related data, job definitions, etc.</a:t>
                      </a:r>
                      <a:endParaRPr lang="nl-BE" sz="2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42911693"/>
                  </a:ext>
                </a:extLst>
              </a:tr>
              <a:tr h="111616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r>
                        <a:rPr lang="nl-BE" sz="2400" dirty="0"/>
                        <a:t>Target Group</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r>
                        <a:rPr lang="en-US" sz="2400" dirty="0"/>
                        <a:t>The set of servers, pools, databases, and shard maps to run a job against.</a:t>
                      </a:r>
                      <a:endParaRPr lang="nl-BE" sz="2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80798970"/>
                  </a:ext>
                </a:extLst>
              </a:tr>
              <a:tr h="1612243">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r>
                        <a:rPr lang="nl-BE" sz="2400"/>
                        <a:t>Jo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r>
                        <a:rPr lang="en-US" sz="2400" dirty="0"/>
                        <a:t>A job is a unit of work that is comprised of one or more job steps. Job steps specify the T-SQL script to run, as well as other details required to execute the script.</a:t>
                      </a:r>
                      <a:endParaRPr lang="nl-BE" sz="2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39936747"/>
                  </a:ext>
                </a:extLst>
              </a:tr>
            </a:tbl>
          </a:graphicData>
        </a:graphic>
      </p:graphicFrame>
    </p:spTree>
    <p:extLst>
      <p:ext uri="{BB962C8B-B14F-4D97-AF65-F5344CB8AC3E}">
        <p14:creationId xmlns:p14="http://schemas.microsoft.com/office/powerpoint/2010/main" val="242714810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1E48F7-A4C3-4471-8C8C-4759EF7B8B35}"/>
              </a:ext>
            </a:extLst>
          </p:cNvPr>
          <p:cNvSpPr>
            <a:spLocks noGrp="1"/>
          </p:cNvSpPr>
          <p:nvPr>
            <p:ph type="title"/>
          </p:nvPr>
        </p:nvSpPr>
        <p:spPr/>
        <p:txBody>
          <a:bodyPr wrap="square" anchor="t">
            <a:normAutofit/>
          </a:bodyPr>
          <a:lstStyle/>
          <a:p>
            <a:r>
              <a:rPr lang="en-US" dirty="0"/>
              <a:t>Credentials for running jobs</a:t>
            </a:r>
          </a:p>
        </p:txBody>
      </p:sp>
      <p:graphicFrame>
        <p:nvGraphicFramePr>
          <p:cNvPr id="5" name="Content Placeholder 4">
            <a:extLst>
              <a:ext uri="{FF2B5EF4-FFF2-40B4-BE49-F238E27FC236}">
                <a16:creationId xmlns:a16="http://schemas.microsoft.com/office/drawing/2014/main" id="{FF490BB0-C81D-429C-888D-1E9AE8F8C052}"/>
              </a:ext>
            </a:extLst>
          </p:cNvPr>
          <p:cNvGraphicFramePr>
            <a:graphicFrameLocks noGrp="1"/>
          </p:cNvGraphicFramePr>
          <p:nvPr>
            <p:ph sz="quarter" idx="13"/>
            <p:extLst>
              <p:ext uri="{D42A27DB-BD31-4B8C-83A1-F6EECF244321}">
                <p14:modId xmlns:p14="http://schemas.microsoft.com/office/powerpoint/2010/main" val="1965593949"/>
              </p:ext>
            </p:extLst>
          </p:nvPr>
        </p:nvGraphicFramePr>
        <p:xfrm>
          <a:off x="34834" y="1408113"/>
          <a:ext cx="5595938"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descr="A screenshot of a social media post&#10;&#10;Description automatically generated">
            <a:extLst>
              <a:ext uri="{FF2B5EF4-FFF2-40B4-BE49-F238E27FC236}">
                <a16:creationId xmlns:a16="http://schemas.microsoft.com/office/drawing/2014/main" id="{250117F8-0322-4F68-8181-2E4CE044A151}"/>
              </a:ext>
            </a:extLst>
          </p:cNvPr>
          <p:cNvPicPr>
            <a:picLocks noChangeAspect="1"/>
          </p:cNvPicPr>
          <p:nvPr/>
        </p:nvPicPr>
        <p:blipFill>
          <a:blip r:embed="rId8"/>
          <a:stretch>
            <a:fillRect/>
          </a:stretch>
        </p:blipFill>
        <p:spPr>
          <a:xfrm>
            <a:off x="5257800" y="1813118"/>
            <a:ext cx="6426947" cy="3636769"/>
          </a:xfrm>
          <a:prstGeom prst="rect">
            <a:avLst/>
          </a:prstGeom>
          <a:noFill/>
        </p:spPr>
      </p:pic>
    </p:spTree>
    <p:extLst>
      <p:ext uri="{BB962C8B-B14F-4D97-AF65-F5344CB8AC3E}">
        <p14:creationId xmlns:p14="http://schemas.microsoft.com/office/powerpoint/2010/main" val="332172266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sp>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dirty="0"/>
              <a:t>Elastic Database Jobs</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r>
              <a:rPr lang="en-US" dirty="0"/>
              <a:t>Create and manage an elastic database job.</a:t>
            </a:r>
          </a:p>
          <a:p>
            <a:endParaRPr lang="en-US" dirty="0"/>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818007811"/>
      </p:ext>
    </p:extLst>
  </p:cSld>
  <p:clrMapOvr>
    <a:masterClrMapping/>
  </p:clrMapOvr>
  <p:transition spd="slow"/>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1E48F7-A4C3-4471-8C8C-4759EF7B8B35}"/>
              </a:ext>
            </a:extLst>
          </p:cNvPr>
          <p:cNvSpPr>
            <a:spLocks noGrp="1"/>
          </p:cNvSpPr>
          <p:nvPr>
            <p:ph type="title"/>
          </p:nvPr>
        </p:nvSpPr>
        <p:spPr/>
        <p:txBody>
          <a:bodyPr/>
          <a:lstStyle/>
          <a:p>
            <a:r>
              <a:rPr lang="en-US" dirty="0"/>
              <a:t>Scheduling Jobs</a:t>
            </a:r>
          </a:p>
        </p:txBody>
      </p:sp>
      <p:sp>
        <p:nvSpPr>
          <p:cNvPr id="4" name="Rectangle: Rounded Corners 3">
            <a:extLst>
              <a:ext uri="{FF2B5EF4-FFF2-40B4-BE49-F238E27FC236}">
                <a16:creationId xmlns:a16="http://schemas.microsoft.com/office/drawing/2014/main" id="{FC51C268-A47C-426D-AA40-EFF448569AE6}"/>
              </a:ext>
            </a:extLst>
          </p:cNvPr>
          <p:cNvSpPr/>
          <p:nvPr/>
        </p:nvSpPr>
        <p:spPr>
          <a:xfrm>
            <a:off x="344130" y="1724085"/>
            <a:ext cx="11503739" cy="1515480"/>
          </a:xfrm>
          <a:prstGeom prst="roundRect">
            <a:avLst>
              <a:gd name="adj" fmla="val 10000"/>
            </a:avLst>
          </a:prstGeom>
          <a:noFill/>
          <a:ln>
            <a:noFill/>
          </a:ln>
          <a:effectLst/>
        </p:spPr>
      </p:sp>
      <p:sp>
        <p:nvSpPr>
          <p:cNvPr id="5" name="Rectangle 4" descr="Database">
            <a:extLst>
              <a:ext uri="{FF2B5EF4-FFF2-40B4-BE49-F238E27FC236}">
                <a16:creationId xmlns:a16="http://schemas.microsoft.com/office/drawing/2014/main" id="{0179ABA3-7682-4B5C-8BAA-A728A8F324F0}"/>
              </a:ext>
            </a:extLst>
          </p:cNvPr>
          <p:cNvSpPr/>
          <p:nvPr/>
        </p:nvSpPr>
        <p:spPr>
          <a:xfrm>
            <a:off x="802562" y="2065068"/>
            <a:ext cx="833514" cy="833514"/>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p:spPr>
      </p:sp>
      <p:grpSp>
        <p:nvGrpSpPr>
          <p:cNvPr id="6" name="Group 5">
            <a:extLst>
              <a:ext uri="{FF2B5EF4-FFF2-40B4-BE49-F238E27FC236}">
                <a16:creationId xmlns:a16="http://schemas.microsoft.com/office/drawing/2014/main" id="{E1EBDFD6-59BD-40C1-AABB-3F2B3E09D2B2}"/>
              </a:ext>
            </a:extLst>
          </p:cNvPr>
          <p:cNvGrpSpPr/>
          <p:nvPr/>
        </p:nvGrpSpPr>
        <p:grpSpPr>
          <a:xfrm>
            <a:off x="2094509" y="1724085"/>
            <a:ext cx="9564091" cy="1515480"/>
            <a:chOff x="1750379" y="820885"/>
            <a:chExt cx="9753359" cy="1515480"/>
          </a:xfrm>
        </p:grpSpPr>
        <p:sp>
          <p:nvSpPr>
            <p:cNvPr id="12" name="Rectangle 11">
              <a:extLst>
                <a:ext uri="{FF2B5EF4-FFF2-40B4-BE49-F238E27FC236}">
                  <a16:creationId xmlns:a16="http://schemas.microsoft.com/office/drawing/2014/main" id="{2D65DC8A-90AA-4E9B-BA5C-A64C5D8DFBBC}"/>
                </a:ext>
              </a:extLst>
            </p:cNvPr>
            <p:cNvSpPr/>
            <p:nvPr/>
          </p:nvSpPr>
          <p:spPr>
            <a:xfrm>
              <a:off x="1750379" y="820885"/>
              <a:ext cx="9753359" cy="1515480"/>
            </a:xfrm>
            <a:prstGeom prst="rect">
              <a:avLst/>
            </a:prstGeom>
            <a:noFill/>
            <a:ln>
              <a:noFill/>
            </a:ln>
            <a:effectLst/>
          </p:spPr>
          <p:txBody>
            <a:bodyPr/>
            <a:lstStyle/>
            <a:p>
              <a:endParaRPr lang="en-US" sz="2400" dirty="0">
                <a:latin typeface="Segoe UI" panose="020B0502040204020203" pitchFamily="34" charset="0"/>
              </a:endParaRPr>
            </a:p>
          </p:txBody>
        </p:sp>
        <p:sp>
          <p:nvSpPr>
            <p:cNvPr id="13" name="TextBox 12">
              <a:extLst>
                <a:ext uri="{FF2B5EF4-FFF2-40B4-BE49-F238E27FC236}">
                  <a16:creationId xmlns:a16="http://schemas.microsoft.com/office/drawing/2014/main" id="{92BAFC1C-F5EC-47C2-BC22-20C73EF6DC87}"/>
                </a:ext>
              </a:extLst>
            </p:cNvPr>
            <p:cNvSpPr txBox="1"/>
            <p:nvPr/>
          </p:nvSpPr>
          <p:spPr>
            <a:xfrm>
              <a:off x="1750379" y="820885"/>
              <a:ext cx="9753359" cy="1515480"/>
            </a:xfrm>
            <a:prstGeom prst="rect">
              <a:avLst/>
            </a:prstGeom>
            <a:noFill/>
            <a:ln>
              <a:noFill/>
            </a:ln>
            <a:effectLst/>
          </p:spPr>
          <p:txBody>
            <a:bodyPr spcFirstLastPara="0" vert="horz" wrap="square" lIns="160388" tIns="160388" rIns="160388" bIns="160388" numCol="1" spcCol="1270" anchor="ctr" anchorCtr="0">
              <a:noAutofit/>
            </a:bodyPr>
            <a:lstStyle/>
            <a:p>
              <a:pPr marL="0" marR="0" lvl="0" indent="0" algn="l" defTabSz="1333500" eaLnBrk="1" fontAlgn="auto" latinLnBrk="0" hangingPunct="1">
                <a:lnSpc>
                  <a:spcPct val="100000"/>
                </a:lnSpc>
                <a:spcBef>
                  <a:spcPct val="0"/>
                </a:spcBef>
                <a:spcAft>
                  <a:spcPct val="35000"/>
                </a:spcAft>
                <a:buClrTx/>
                <a:buSzTx/>
                <a:buFontTx/>
                <a:buNone/>
                <a:tabLst/>
                <a:defRPr/>
              </a:pPr>
              <a:r>
                <a:rPr kumimoji="0" lang="en-US" sz="2400" b="0" i="0" u="none" strike="noStrike" kern="1200" cap="none" spc="0" normalizeH="0" baseline="0" noProof="0" dirty="0">
                  <a:ln>
                    <a:noFill/>
                  </a:ln>
                  <a:effectLst/>
                  <a:uLnTx/>
                  <a:uFillTx/>
                  <a:latin typeface="Segoe UI" panose="020B0502040204020203" pitchFamily="34" charset="0"/>
                  <a:ea typeface="+mn-ea"/>
                  <a:cs typeface="+mn-cs"/>
                </a:rPr>
                <a:t>Microsoft Azure SQL Database does not support SQL Server Agent.</a:t>
              </a:r>
            </a:p>
          </p:txBody>
        </p:sp>
      </p:grpSp>
      <p:sp>
        <p:nvSpPr>
          <p:cNvPr id="7" name="Rectangle: Rounded Corners 6">
            <a:extLst>
              <a:ext uri="{FF2B5EF4-FFF2-40B4-BE49-F238E27FC236}">
                <a16:creationId xmlns:a16="http://schemas.microsoft.com/office/drawing/2014/main" id="{569C6E1B-26D7-4EDA-876D-4E2E2EE4C77A}"/>
              </a:ext>
            </a:extLst>
          </p:cNvPr>
          <p:cNvSpPr/>
          <p:nvPr/>
        </p:nvSpPr>
        <p:spPr>
          <a:xfrm>
            <a:off x="344130" y="3618435"/>
            <a:ext cx="11503739" cy="1515480"/>
          </a:xfrm>
          <a:prstGeom prst="roundRect">
            <a:avLst>
              <a:gd name="adj" fmla="val 10000"/>
            </a:avLst>
          </a:prstGeom>
          <a:noFill/>
          <a:ln>
            <a:noFill/>
          </a:ln>
          <a:effectLst/>
        </p:spPr>
      </p:sp>
      <p:sp>
        <p:nvSpPr>
          <p:cNvPr id="8" name="Rectangle 7" descr="Computer">
            <a:extLst>
              <a:ext uri="{FF2B5EF4-FFF2-40B4-BE49-F238E27FC236}">
                <a16:creationId xmlns:a16="http://schemas.microsoft.com/office/drawing/2014/main" id="{29409091-5044-46DE-B949-41CD7CAFE140}"/>
              </a:ext>
            </a:extLst>
          </p:cNvPr>
          <p:cNvSpPr/>
          <p:nvPr/>
        </p:nvSpPr>
        <p:spPr>
          <a:xfrm>
            <a:off x="802562" y="3959418"/>
            <a:ext cx="833514" cy="833514"/>
          </a:xfrm>
          <a:prstGeom prst="rect">
            <a:avLst/>
          </a:prstGeom>
          <a: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p:spPr>
      </p:sp>
      <p:grpSp>
        <p:nvGrpSpPr>
          <p:cNvPr id="9" name="Group 8">
            <a:extLst>
              <a:ext uri="{FF2B5EF4-FFF2-40B4-BE49-F238E27FC236}">
                <a16:creationId xmlns:a16="http://schemas.microsoft.com/office/drawing/2014/main" id="{F2852587-71E5-4FB9-A506-8FE3CB681820}"/>
              </a:ext>
            </a:extLst>
          </p:cNvPr>
          <p:cNvGrpSpPr/>
          <p:nvPr/>
        </p:nvGrpSpPr>
        <p:grpSpPr>
          <a:xfrm>
            <a:off x="2094509" y="3618435"/>
            <a:ext cx="9294929" cy="1515480"/>
            <a:chOff x="1750379" y="2715235"/>
            <a:chExt cx="9753359" cy="1515480"/>
          </a:xfrm>
        </p:grpSpPr>
        <p:sp>
          <p:nvSpPr>
            <p:cNvPr id="10" name="Rectangle 9">
              <a:extLst>
                <a:ext uri="{FF2B5EF4-FFF2-40B4-BE49-F238E27FC236}">
                  <a16:creationId xmlns:a16="http://schemas.microsoft.com/office/drawing/2014/main" id="{4E9DED15-C0F3-4250-B8FB-204A32770BC8}"/>
                </a:ext>
              </a:extLst>
            </p:cNvPr>
            <p:cNvSpPr/>
            <p:nvPr/>
          </p:nvSpPr>
          <p:spPr>
            <a:xfrm>
              <a:off x="1750379" y="2715235"/>
              <a:ext cx="9753359" cy="1515480"/>
            </a:xfrm>
            <a:prstGeom prst="rect">
              <a:avLst/>
            </a:prstGeom>
            <a:noFill/>
            <a:ln>
              <a:noFill/>
            </a:ln>
            <a:effectLst/>
          </p:spPr>
          <p:txBody>
            <a:bodyPr/>
            <a:lstStyle/>
            <a:p>
              <a:endParaRPr lang="en-US" sz="2400" dirty="0">
                <a:latin typeface="Segoe UI" panose="020B0502040204020203" pitchFamily="34" charset="0"/>
              </a:endParaRPr>
            </a:p>
          </p:txBody>
        </p:sp>
        <p:sp>
          <p:nvSpPr>
            <p:cNvPr id="11" name="TextBox 10">
              <a:extLst>
                <a:ext uri="{FF2B5EF4-FFF2-40B4-BE49-F238E27FC236}">
                  <a16:creationId xmlns:a16="http://schemas.microsoft.com/office/drawing/2014/main" id="{2EC9F3C0-7727-48A5-B771-C3568D3DF9E5}"/>
                </a:ext>
              </a:extLst>
            </p:cNvPr>
            <p:cNvSpPr txBox="1"/>
            <p:nvPr/>
          </p:nvSpPr>
          <p:spPr>
            <a:xfrm>
              <a:off x="1750379" y="2715235"/>
              <a:ext cx="9753359" cy="1515480"/>
            </a:xfrm>
            <a:prstGeom prst="rect">
              <a:avLst/>
            </a:prstGeom>
            <a:noFill/>
            <a:ln>
              <a:noFill/>
            </a:ln>
            <a:effectLst/>
          </p:spPr>
          <p:txBody>
            <a:bodyPr spcFirstLastPara="0" vert="horz" wrap="square" lIns="160388" tIns="160388" rIns="160388" bIns="160388" numCol="1" spcCol="1270" anchor="ctr" anchorCtr="0">
              <a:noAutofit/>
            </a:bodyPr>
            <a:lstStyle/>
            <a:p>
              <a:pPr marL="0" marR="0" lvl="0" indent="0" algn="l" defTabSz="1333500" eaLnBrk="1" fontAlgn="auto" latinLnBrk="0" hangingPunct="1">
                <a:lnSpc>
                  <a:spcPct val="100000"/>
                </a:lnSpc>
                <a:spcBef>
                  <a:spcPct val="0"/>
                </a:spcBef>
                <a:spcAft>
                  <a:spcPct val="35000"/>
                </a:spcAft>
                <a:buClrTx/>
                <a:buSzTx/>
                <a:buFontTx/>
                <a:buNone/>
                <a:tabLst/>
                <a:defRPr/>
              </a:pPr>
              <a:r>
                <a:rPr kumimoji="0" lang="en-US" sz="2400" b="0" i="0" u="none" strike="noStrike" kern="1200" cap="none" spc="0" normalizeH="0" baseline="0" noProof="0" dirty="0">
                  <a:ln>
                    <a:noFill/>
                  </a:ln>
                  <a:effectLst/>
                  <a:uLnTx/>
                  <a:uFillTx/>
                  <a:latin typeface="Segoe UI" panose="020B0502040204020203" pitchFamily="34" charset="0"/>
                  <a:ea typeface="+mn-ea"/>
                  <a:cs typeface="+mn-cs"/>
                </a:rPr>
                <a:t>Instead, use Azure Automation or Elastic jobs or use SQL Server Agent from a Linked server. </a:t>
              </a:r>
            </a:p>
          </p:txBody>
        </p:sp>
      </p:grpSp>
    </p:spTree>
    <p:extLst>
      <p:ext uri="{BB962C8B-B14F-4D97-AF65-F5344CB8AC3E}">
        <p14:creationId xmlns:p14="http://schemas.microsoft.com/office/powerpoint/2010/main" val="279671066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1E48F7-A4C3-4471-8C8C-4759EF7B8B35}"/>
              </a:ext>
            </a:extLst>
          </p:cNvPr>
          <p:cNvSpPr>
            <a:spLocks noGrp="1"/>
          </p:cNvSpPr>
          <p:nvPr>
            <p:ph type="title"/>
          </p:nvPr>
        </p:nvSpPr>
        <p:spPr/>
        <p:txBody>
          <a:bodyPr/>
          <a:lstStyle/>
          <a:p>
            <a:r>
              <a:rPr lang="en-US" dirty="0"/>
              <a:t>Using SQL Server Agent</a:t>
            </a:r>
          </a:p>
        </p:txBody>
      </p:sp>
      <p:graphicFrame>
        <p:nvGraphicFramePr>
          <p:cNvPr id="4" name="Diagram 3">
            <a:extLst>
              <a:ext uri="{FF2B5EF4-FFF2-40B4-BE49-F238E27FC236}">
                <a16:creationId xmlns:a16="http://schemas.microsoft.com/office/drawing/2014/main" id="{49658F28-6844-436F-9F9D-BF147B70B8B8}"/>
              </a:ext>
            </a:extLst>
          </p:cNvPr>
          <p:cNvGraphicFramePr/>
          <p:nvPr>
            <p:extLst>
              <p:ext uri="{D42A27DB-BD31-4B8C-83A1-F6EECF244321}">
                <p14:modId xmlns:p14="http://schemas.microsoft.com/office/powerpoint/2010/main" val="1077229692"/>
              </p:ext>
            </p:extLst>
          </p:nvPr>
        </p:nvGraphicFramePr>
        <p:xfrm>
          <a:off x="655637" y="1165754"/>
          <a:ext cx="10621964" cy="505160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1719445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1E48F7-A4C3-4471-8C8C-4759EF7B8B35}"/>
              </a:ext>
            </a:extLst>
          </p:cNvPr>
          <p:cNvSpPr>
            <a:spLocks noGrp="1"/>
          </p:cNvSpPr>
          <p:nvPr>
            <p:ph type="title"/>
          </p:nvPr>
        </p:nvSpPr>
        <p:spPr/>
        <p:txBody>
          <a:bodyPr/>
          <a:lstStyle/>
          <a:p>
            <a:r>
              <a:rPr lang="en-US" dirty="0"/>
              <a:t>Azure Automation</a:t>
            </a:r>
          </a:p>
        </p:txBody>
      </p:sp>
      <p:graphicFrame>
        <p:nvGraphicFramePr>
          <p:cNvPr id="4" name="Content Placeholder 3">
            <a:extLst>
              <a:ext uri="{FF2B5EF4-FFF2-40B4-BE49-F238E27FC236}">
                <a16:creationId xmlns:a16="http://schemas.microsoft.com/office/drawing/2014/main" id="{0F433426-1A58-49CD-AA31-00AD90106957}"/>
              </a:ext>
            </a:extLst>
          </p:cNvPr>
          <p:cNvGraphicFramePr>
            <a:graphicFrameLocks noGrp="1"/>
          </p:cNvGraphicFramePr>
          <p:nvPr>
            <p:ph sz="quarter" idx="13"/>
            <p:extLst>
              <p:ext uri="{D42A27DB-BD31-4B8C-83A1-F6EECF244321}">
                <p14:modId xmlns:p14="http://schemas.microsoft.com/office/powerpoint/2010/main" val="324711241"/>
              </p:ext>
            </p:extLst>
          </p:nvPr>
        </p:nvGraphicFramePr>
        <p:xfrm>
          <a:off x="655638" y="1408114"/>
          <a:ext cx="10880726" cy="30876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303572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1155362" cy="604798"/>
          </a:xfrm>
        </p:spPr>
        <p:txBody>
          <a:bodyPr/>
          <a:lstStyle/>
          <a:p>
            <a:r>
              <a:rPr lang="en-US" dirty="0"/>
              <a:t>Lesson 1: Various Tools to Manage Azure SQL Database</a:t>
            </a:r>
          </a:p>
        </p:txBody>
      </p:sp>
    </p:spTree>
    <p:extLst>
      <p:ext uri="{BB962C8B-B14F-4D97-AF65-F5344CB8AC3E}">
        <p14:creationId xmlns:p14="http://schemas.microsoft.com/office/powerpoint/2010/main" val="408374608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1E48F7-A4C3-4471-8C8C-4759EF7B8B35}"/>
              </a:ext>
            </a:extLst>
          </p:cNvPr>
          <p:cNvSpPr>
            <a:spLocks noGrp="1"/>
          </p:cNvSpPr>
          <p:nvPr>
            <p:ph type="title"/>
          </p:nvPr>
        </p:nvSpPr>
        <p:spPr/>
        <p:txBody>
          <a:bodyPr/>
          <a:lstStyle/>
          <a:p>
            <a:r>
              <a:rPr lang="en-US" dirty="0"/>
              <a:t>Azure Automation - Runbook</a:t>
            </a:r>
          </a:p>
        </p:txBody>
      </p:sp>
      <p:graphicFrame>
        <p:nvGraphicFramePr>
          <p:cNvPr id="4" name="Diagram 3">
            <a:extLst>
              <a:ext uri="{FF2B5EF4-FFF2-40B4-BE49-F238E27FC236}">
                <a16:creationId xmlns:a16="http://schemas.microsoft.com/office/drawing/2014/main" id="{F7D47CF4-BC42-4583-BB8C-CC9573DA95F8}"/>
              </a:ext>
            </a:extLst>
          </p:cNvPr>
          <p:cNvGraphicFramePr/>
          <p:nvPr>
            <p:extLst>
              <p:ext uri="{D42A27DB-BD31-4B8C-83A1-F6EECF244321}">
                <p14:modId xmlns:p14="http://schemas.microsoft.com/office/powerpoint/2010/main" val="3052732613"/>
              </p:ext>
            </p:extLst>
          </p:nvPr>
        </p:nvGraphicFramePr>
        <p:xfrm>
          <a:off x="655637" y="1292139"/>
          <a:ext cx="10880726" cy="493562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1250510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1E48F7-A4C3-4471-8C8C-4759EF7B8B35}"/>
              </a:ext>
            </a:extLst>
          </p:cNvPr>
          <p:cNvSpPr>
            <a:spLocks noGrp="1"/>
          </p:cNvSpPr>
          <p:nvPr>
            <p:ph type="title"/>
          </p:nvPr>
        </p:nvSpPr>
        <p:spPr>
          <a:xfrm>
            <a:off x="655638" y="320040"/>
            <a:ext cx="10880725" cy="461665"/>
          </a:xfrm>
        </p:spPr>
        <p:txBody>
          <a:bodyPr/>
          <a:lstStyle/>
          <a:p>
            <a:r>
              <a:rPr lang="en-US" dirty="0"/>
              <a:t>Azure Automation vs. SQL Server Agent Job</a:t>
            </a:r>
          </a:p>
        </p:txBody>
      </p:sp>
      <p:sp>
        <p:nvSpPr>
          <p:cNvPr id="3" name="Content Placeholder 2">
            <a:extLst>
              <a:ext uri="{FF2B5EF4-FFF2-40B4-BE49-F238E27FC236}">
                <a16:creationId xmlns:a16="http://schemas.microsoft.com/office/drawing/2014/main" id="{7EC492B1-CA18-4AEC-B486-A1D60C0F6202}"/>
              </a:ext>
            </a:extLst>
          </p:cNvPr>
          <p:cNvSpPr>
            <a:spLocks noGrp="1"/>
          </p:cNvSpPr>
          <p:nvPr>
            <p:ph sz="quarter" idx="13"/>
          </p:nvPr>
        </p:nvSpPr>
        <p:spPr/>
        <p:txBody>
          <a:bodyPr/>
          <a:lstStyle/>
          <a:p>
            <a:endParaRPr lang="en-US"/>
          </a:p>
        </p:txBody>
      </p:sp>
      <p:graphicFrame>
        <p:nvGraphicFramePr>
          <p:cNvPr id="4" name="Table 3">
            <a:extLst>
              <a:ext uri="{FF2B5EF4-FFF2-40B4-BE49-F238E27FC236}">
                <a16:creationId xmlns:a16="http://schemas.microsoft.com/office/drawing/2014/main" id="{837F1BFF-0A6B-4138-A673-2EE201E7B1B7}"/>
              </a:ext>
            </a:extLst>
          </p:cNvPr>
          <p:cNvGraphicFramePr>
            <a:graphicFrameLocks noGrp="1"/>
          </p:cNvGraphicFramePr>
          <p:nvPr>
            <p:extLst>
              <p:ext uri="{D42A27DB-BD31-4B8C-83A1-F6EECF244321}">
                <p14:modId xmlns:p14="http://schemas.microsoft.com/office/powerpoint/2010/main" val="3152164150"/>
              </p:ext>
            </p:extLst>
          </p:nvPr>
        </p:nvGraphicFramePr>
        <p:xfrm>
          <a:off x="655635" y="1412124"/>
          <a:ext cx="10880725" cy="4815641"/>
        </p:xfrm>
        <a:graphic>
          <a:graphicData uri="http://schemas.openxmlformats.org/drawingml/2006/table">
            <a:tbl>
              <a:tblPr firstRow="1" bandRow="1">
                <a:tableStyleId>{B301B821-A1FF-4177-AEE7-76D212191A09}</a:tableStyleId>
              </a:tblPr>
              <a:tblGrid>
                <a:gridCol w="4687610">
                  <a:extLst>
                    <a:ext uri="{9D8B030D-6E8A-4147-A177-3AD203B41FA5}">
                      <a16:colId xmlns:a16="http://schemas.microsoft.com/office/drawing/2014/main" val="1605024589"/>
                    </a:ext>
                  </a:extLst>
                </a:gridCol>
                <a:gridCol w="6193115">
                  <a:extLst>
                    <a:ext uri="{9D8B030D-6E8A-4147-A177-3AD203B41FA5}">
                      <a16:colId xmlns:a16="http://schemas.microsoft.com/office/drawing/2014/main" val="3480025305"/>
                    </a:ext>
                  </a:extLst>
                </a:gridCol>
              </a:tblGrid>
              <a:tr h="633041">
                <a:tc>
                  <a:txBody>
                    <a:bodyPr/>
                    <a:lstStyle>
                      <a:lvl1pPr marL="0" algn="l" defTabSz="914400" rtl="0" eaLnBrk="1" latinLnBrk="0" hangingPunct="1">
                        <a:defRPr sz="1800" b="1" kern="1200">
                          <a:solidFill>
                            <a:schemeClr val="lt1"/>
                          </a:solidFill>
                          <a:latin typeface="Segoe UI"/>
                        </a:defRPr>
                      </a:lvl1pPr>
                      <a:lvl2pPr marL="457200" algn="l" defTabSz="914400" rtl="0" eaLnBrk="1" latinLnBrk="0" hangingPunct="1">
                        <a:defRPr sz="1800" b="1" kern="1200">
                          <a:solidFill>
                            <a:schemeClr val="lt1"/>
                          </a:solidFill>
                          <a:latin typeface="Segoe UI"/>
                        </a:defRPr>
                      </a:lvl2pPr>
                      <a:lvl3pPr marL="914400" algn="l" defTabSz="914400" rtl="0" eaLnBrk="1" latinLnBrk="0" hangingPunct="1">
                        <a:defRPr sz="1800" b="1" kern="1200">
                          <a:solidFill>
                            <a:schemeClr val="lt1"/>
                          </a:solidFill>
                          <a:latin typeface="Segoe UI"/>
                        </a:defRPr>
                      </a:lvl3pPr>
                      <a:lvl4pPr marL="1371600" algn="l" defTabSz="914400" rtl="0" eaLnBrk="1" latinLnBrk="0" hangingPunct="1">
                        <a:defRPr sz="1800" b="1" kern="1200">
                          <a:solidFill>
                            <a:schemeClr val="lt1"/>
                          </a:solidFill>
                          <a:latin typeface="Segoe UI"/>
                        </a:defRPr>
                      </a:lvl4pPr>
                      <a:lvl5pPr marL="1828800" algn="l" defTabSz="914400" rtl="0" eaLnBrk="1" latinLnBrk="0" hangingPunct="1">
                        <a:defRPr sz="1800" b="1" kern="1200">
                          <a:solidFill>
                            <a:schemeClr val="lt1"/>
                          </a:solidFill>
                          <a:latin typeface="Segoe UI"/>
                        </a:defRPr>
                      </a:lvl5pPr>
                      <a:lvl6pPr marL="2286000" algn="l" defTabSz="914400" rtl="0" eaLnBrk="1" latinLnBrk="0" hangingPunct="1">
                        <a:defRPr sz="1800" b="1" kern="1200">
                          <a:solidFill>
                            <a:schemeClr val="lt1"/>
                          </a:solidFill>
                          <a:latin typeface="Segoe UI"/>
                        </a:defRPr>
                      </a:lvl6pPr>
                      <a:lvl7pPr marL="2743200" algn="l" defTabSz="914400" rtl="0" eaLnBrk="1" latinLnBrk="0" hangingPunct="1">
                        <a:defRPr sz="1800" b="1" kern="1200">
                          <a:solidFill>
                            <a:schemeClr val="lt1"/>
                          </a:solidFill>
                          <a:latin typeface="Segoe UI"/>
                        </a:defRPr>
                      </a:lvl7pPr>
                      <a:lvl8pPr marL="3200400" algn="l" defTabSz="914400" rtl="0" eaLnBrk="1" latinLnBrk="0" hangingPunct="1">
                        <a:defRPr sz="1800" b="1" kern="1200">
                          <a:solidFill>
                            <a:schemeClr val="lt1"/>
                          </a:solidFill>
                          <a:latin typeface="Segoe UI"/>
                        </a:defRPr>
                      </a:lvl8pPr>
                      <a:lvl9pPr marL="3657600" algn="l" defTabSz="914400" rtl="0" eaLnBrk="1" latinLnBrk="0" hangingPunct="1">
                        <a:defRPr sz="1800" b="1" kern="1200">
                          <a:solidFill>
                            <a:schemeClr val="lt1"/>
                          </a:solidFill>
                          <a:latin typeface="Segoe UI"/>
                        </a:defRPr>
                      </a:lvl9pPr>
                    </a:lstStyle>
                    <a:p>
                      <a:r>
                        <a:rPr lang="nl-BE" sz="2400" dirty="0"/>
                        <a:t>Azure Automation</a:t>
                      </a:r>
                      <a:endParaRPr lang="nl-BE" sz="2400" dirty="0">
                        <a:latin typeface="Segoe UI Light" panose="020B0502040204020203" pitchFamily="34" charset="0"/>
                        <a:cs typeface="Segoe UI Light" panose="020B0502040204020203" pitchFamily="34" charset="0"/>
                      </a:endParaRPr>
                    </a:p>
                  </a:txBody>
                  <a:tcPr marL="93260" marR="93260" marT="46630" marB="46630"/>
                </a:tc>
                <a:tc>
                  <a:txBody>
                    <a:bodyPr/>
                    <a:lstStyle>
                      <a:lvl1pPr marL="0" algn="l" defTabSz="914400" rtl="0" eaLnBrk="1" latinLnBrk="0" hangingPunct="1">
                        <a:defRPr sz="1800" b="1" kern="1200">
                          <a:solidFill>
                            <a:schemeClr val="lt1"/>
                          </a:solidFill>
                          <a:latin typeface="Segoe UI"/>
                        </a:defRPr>
                      </a:lvl1pPr>
                      <a:lvl2pPr marL="457200" algn="l" defTabSz="914400" rtl="0" eaLnBrk="1" latinLnBrk="0" hangingPunct="1">
                        <a:defRPr sz="1800" b="1" kern="1200">
                          <a:solidFill>
                            <a:schemeClr val="lt1"/>
                          </a:solidFill>
                          <a:latin typeface="Segoe UI"/>
                        </a:defRPr>
                      </a:lvl2pPr>
                      <a:lvl3pPr marL="914400" algn="l" defTabSz="914400" rtl="0" eaLnBrk="1" latinLnBrk="0" hangingPunct="1">
                        <a:defRPr sz="1800" b="1" kern="1200">
                          <a:solidFill>
                            <a:schemeClr val="lt1"/>
                          </a:solidFill>
                          <a:latin typeface="Segoe UI"/>
                        </a:defRPr>
                      </a:lvl3pPr>
                      <a:lvl4pPr marL="1371600" algn="l" defTabSz="914400" rtl="0" eaLnBrk="1" latinLnBrk="0" hangingPunct="1">
                        <a:defRPr sz="1800" b="1" kern="1200">
                          <a:solidFill>
                            <a:schemeClr val="lt1"/>
                          </a:solidFill>
                          <a:latin typeface="Segoe UI"/>
                        </a:defRPr>
                      </a:lvl4pPr>
                      <a:lvl5pPr marL="1828800" algn="l" defTabSz="914400" rtl="0" eaLnBrk="1" latinLnBrk="0" hangingPunct="1">
                        <a:defRPr sz="1800" b="1" kern="1200">
                          <a:solidFill>
                            <a:schemeClr val="lt1"/>
                          </a:solidFill>
                          <a:latin typeface="Segoe UI"/>
                        </a:defRPr>
                      </a:lvl5pPr>
                      <a:lvl6pPr marL="2286000" algn="l" defTabSz="914400" rtl="0" eaLnBrk="1" latinLnBrk="0" hangingPunct="1">
                        <a:defRPr sz="1800" b="1" kern="1200">
                          <a:solidFill>
                            <a:schemeClr val="lt1"/>
                          </a:solidFill>
                          <a:latin typeface="Segoe UI"/>
                        </a:defRPr>
                      </a:lvl6pPr>
                      <a:lvl7pPr marL="2743200" algn="l" defTabSz="914400" rtl="0" eaLnBrk="1" latinLnBrk="0" hangingPunct="1">
                        <a:defRPr sz="1800" b="1" kern="1200">
                          <a:solidFill>
                            <a:schemeClr val="lt1"/>
                          </a:solidFill>
                          <a:latin typeface="Segoe UI"/>
                        </a:defRPr>
                      </a:lvl7pPr>
                      <a:lvl8pPr marL="3200400" algn="l" defTabSz="914400" rtl="0" eaLnBrk="1" latinLnBrk="0" hangingPunct="1">
                        <a:defRPr sz="1800" b="1" kern="1200">
                          <a:solidFill>
                            <a:schemeClr val="lt1"/>
                          </a:solidFill>
                          <a:latin typeface="Segoe UI"/>
                        </a:defRPr>
                      </a:lvl8pPr>
                      <a:lvl9pPr marL="3657600" algn="l" defTabSz="914400" rtl="0" eaLnBrk="1" latinLnBrk="0" hangingPunct="1">
                        <a:defRPr sz="1800" b="1" kern="1200">
                          <a:solidFill>
                            <a:schemeClr val="lt1"/>
                          </a:solidFill>
                          <a:latin typeface="Segoe UI"/>
                        </a:defRPr>
                      </a:lvl9pPr>
                    </a:lstStyle>
                    <a:p>
                      <a:r>
                        <a:rPr lang="nl-BE" sz="2400"/>
                        <a:t>SQL Server Agent Job</a:t>
                      </a:r>
                      <a:endParaRPr lang="nl-BE" sz="2400">
                        <a:latin typeface="Segoe UI Light" panose="020B0502040204020203" pitchFamily="34" charset="0"/>
                        <a:cs typeface="Segoe UI Light" panose="020B0502040204020203" pitchFamily="34" charset="0"/>
                      </a:endParaRPr>
                    </a:p>
                  </a:txBody>
                  <a:tcPr marL="93260" marR="93260" marT="46630" marB="46630"/>
                </a:tc>
                <a:extLst>
                  <a:ext uri="{0D108BD9-81ED-4DB2-BD59-A6C34878D82A}">
                    <a16:rowId xmlns:a16="http://schemas.microsoft.com/office/drawing/2014/main" val="1910708863"/>
                  </a:ext>
                </a:extLst>
              </a:tr>
              <a:tr h="101739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r>
                        <a:rPr lang="en-US" sz="2400" dirty="0">
                          <a:effectLst/>
                        </a:rPr>
                        <a:t>Create an Azure Automation Account</a:t>
                      </a:r>
                      <a:endParaRPr lang="en-US" sz="2400" dirty="0">
                        <a:effectLst/>
                        <a:latin typeface="Segoe UI Light" panose="020B0502040204020203" pitchFamily="34" charset="0"/>
                        <a:cs typeface="Segoe UI Light" panose="020B0502040204020203" pitchFamily="34" charset="0"/>
                      </a:endParaRPr>
                    </a:p>
                  </a:txBody>
                  <a:tcPr marL="68002" marR="68002" marT="46630" marB="4663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r>
                        <a:rPr lang="en-US" sz="2400">
                          <a:effectLst/>
                        </a:rPr>
                        <a:t>Create an SQL Server Agent Job</a:t>
                      </a:r>
                      <a:endParaRPr lang="en-US" sz="2400">
                        <a:effectLst/>
                        <a:latin typeface="Segoe UI Light" panose="020B0502040204020203" pitchFamily="34" charset="0"/>
                        <a:cs typeface="Segoe UI Light" panose="020B0502040204020203" pitchFamily="34" charset="0"/>
                      </a:endParaRPr>
                    </a:p>
                  </a:txBody>
                  <a:tcPr marL="68002" marR="68002" marT="46630" marB="46630" anchor="ctr"/>
                </a:tc>
                <a:extLst>
                  <a:ext uri="{0D108BD9-81ED-4DB2-BD59-A6C34878D82A}">
                    <a16:rowId xmlns:a16="http://schemas.microsoft.com/office/drawing/2014/main" val="3876768209"/>
                  </a:ext>
                </a:extLst>
              </a:tr>
              <a:tr h="63304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r>
                        <a:rPr lang="nl-BE" sz="2400">
                          <a:effectLst/>
                        </a:rPr>
                        <a:t>Create a runbook</a:t>
                      </a:r>
                      <a:endParaRPr lang="nl-BE" sz="2400">
                        <a:effectLst/>
                        <a:latin typeface="Segoe UI Light" panose="020B0502040204020203" pitchFamily="34" charset="0"/>
                        <a:cs typeface="Segoe UI Light" panose="020B0502040204020203" pitchFamily="34" charset="0"/>
                      </a:endParaRPr>
                    </a:p>
                  </a:txBody>
                  <a:tcPr marL="68002" marR="68002" marT="46630" marB="4663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r>
                        <a:rPr lang="nl-BE" sz="2400">
                          <a:effectLst/>
                        </a:rPr>
                        <a:t>Create a Job Step</a:t>
                      </a:r>
                      <a:endParaRPr lang="nl-BE" sz="2400">
                        <a:effectLst/>
                        <a:latin typeface="Segoe UI Light" panose="020B0502040204020203" pitchFamily="34" charset="0"/>
                        <a:cs typeface="Segoe UI Light" panose="020B0502040204020203" pitchFamily="34" charset="0"/>
                      </a:endParaRPr>
                    </a:p>
                  </a:txBody>
                  <a:tcPr marL="68002" marR="68002" marT="46630" marB="46630" anchor="ctr"/>
                </a:tc>
                <a:extLst>
                  <a:ext uri="{0D108BD9-81ED-4DB2-BD59-A6C34878D82A}">
                    <a16:rowId xmlns:a16="http://schemas.microsoft.com/office/drawing/2014/main" val="524682386"/>
                  </a:ext>
                </a:extLst>
              </a:tr>
              <a:tr h="63304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r>
                        <a:rPr lang="nl-BE" sz="2400">
                          <a:effectLst/>
                        </a:rPr>
                        <a:t>Test the runbook</a:t>
                      </a:r>
                      <a:endParaRPr lang="nl-BE" sz="2400">
                        <a:effectLst/>
                        <a:latin typeface="Segoe UI Light" panose="020B0502040204020203" pitchFamily="34" charset="0"/>
                        <a:cs typeface="Segoe UI Light" panose="020B0502040204020203" pitchFamily="34" charset="0"/>
                      </a:endParaRPr>
                    </a:p>
                  </a:txBody>
                  <a:tcPr marL="68002" marR="68002" marT="46630" marB="4663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r>
                        <a:rPr lang="nl-BE" sz="2400">
                          <a:effectLst/>
                        </a:rPr>
                        <a:t>Start Job at Step</a:t>
                      </a:r>
                      <a:endParaRPr lang="nl-BE" sz="2400">
                        <a:effectLst/>
                        <a:latin typeface="Segoe UI Light" panose="020B0502040204020203" pitchFamily="34" charset="0"/>
                        <a:cs typeface="Segoe UI Light" panose="020B0502040204020203" pitchFamily="34" charset="0"/>
                      </a:endParaRPr>
                    </a:p>
                  </a:txBody>
                  <a:tcPr marL="68002" marR="68002" marT="46630" marB="46630" anchor="ctr"/>
                </a:tc>
                <a:extLst>
                  <a:ext uri="{0D108BD9-81ED-4DB2-BD59-A6C34878D82A}">
                    <a16:rowId xmlns:a16="http://schemas.microsoft.com/office/drawing/2014/main" val="2157906370"/>
                  </a:ext>
                </a:extLst>
              </a:tr>
              <a:tr h="63304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r>
                        <a:rPr lang="nl-BE" sz="2400" dirty="0">
                          <a:effectLst/>
                        </a:rPr>
                        <a:t>Publish the runbook</a:t>
                      </a:r>
                      <a:endParaRPr lang="nl-BE" sz="2400" dirty="0">
                        <a:effectLst/>
                        <a:latin typeface="Segoe UI Light" panose="020B0502040204020203" pitchFamily="34" charset="0"/>
                        <a:cs typeface="Segoe UI Light" panose="020B0502040204020203" pitchFamily="34" charset="0"/>
                      </a:endParaRPr>
                    </a:p>
                  </a:txBody>
                  <a:tcPr marL="68002" marR="68002" marT="46630" marB="4663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r>
                        <a:rPr lang="nl-BE" sz="2400">
                          <a:effectLst/>
                        </a:rPr>
                        <a:t>Save the job</a:t>
                      </a:r>
                      <a:endParaRPr lang="nl-BE" sz="2400">
                        <a:effectLst/>
                        <a:latin typeface="Segoe UI Light" panose="020B0502040204020203" pitchFamily="34" charset="0"/>
                        <a:cs typeface="Segoe UI Light" panose="020B0502040204020203" pitchFamily="34" charset="0"/>
                      </a:endParaRPr>
                    </a:p>
                  </a:txBody>
                  <a:tcPr marL="68002" marR="68002" marT="46630" marB="46630" anchor="ctr"/>
                </a:tc>
                <a:extLst>
                  <a:ext uri="{0D108BD9-81ED-4DB2-BD59-A6C34878D82A}">
                    <a16:rowId xmlns:a16="http://schemas.microsoft.com/office/drawing/2014/main" val="2028333574"/>
                  </a:ext>
                </a:extLst>
              </a:tr>
              <a:tr h="63304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r>
                        <a:rPr lang="nl-BE" sz="2400">
                          <a:effectLst/>
                        </a:rPr>
                        <a:t>Schedule the runbook</a:t>
                      </a:r>
                      <a:endParaRPr lang="nl-BE" sz="2400">
                        <a:effectLst/>
                        <a:latin typeface="Segoe UI Light" panose="020B0502040204020203" pitchFamily="34" charset="0"/>
                        <a:cs typeface="Segoe UI Light" panose="020B0502040204020203" pitchFamily="34" charset="0"/>
                      </a:endParaRPr>
                    </a:p>
                  </a:txBody>
                  <a:tcPr marL="68002" marR="68002" marT="46630" marB="4663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r>
                        <a:rPr lang="en-US" sz="2400">
                          <a:effectLst/>
                        </a:rPr>
                        <a:t>Schedule the SQL Server Agent Job</a:t>
                      </a:r>
                      <a:endParaRPr lang="en-US" sz="2400">
                        <a:effectLst/>
                        <a:latin typeface="Segoe UI Light" panose="020B0502040204020203" pitchFamily="34" charset="0"/>
                        <a:cs typeface="Segoe UI Light" panose="020B0502040204020203" pitchFamily="34" charset="0"/>
                      </a:endParaRPr>
                    </a:p>
                  </a:txBody>
                  <a:tcPr marL="68002" marR="68002" marT="46630" marB="46630" anchor="ctr"/>
                </a:tc>
                <a:extLst>
                  <a:ext uri="{0D108BD9-81ED-4DB2-BD59-A6C34878D82A}">
                    <a16:rowId xmlns:a16="http://schemas.microsoft.com/office/drawing/2014/main" val="2565193241"/>
                  </a:ext>
                </a:extLst>
              </a:tr>
              <a:tr h="63304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r>
                        <a:rPr lang="en-US" sz="2400">
                          <a:effectLst/>
                        </a:rPr>
                        <a:t>View jobs of the runbook</a:t>
                      </a:r>
                      <a:endParaRPr lang="en-US" sz="2400">
                        <a:effectLst/>
                        <a:latin typeface="Segoe UI Light" panose="020B0502040204020203" pitchFamily="34" charset="0"/>
                        <a:cs typeface="Segoe UI Light" panose="020B0502040204020203" pitchFamily="34" charset="0"/>
                      </a:endParaRPr>
                    </a:p>
                  </a:txBody>
                  <a:tcPr marL="68002" marR="68002" marT="46630" marB="4663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r>
                        <a:rPr lang="nl-BE" sz="2400" dirty="0">
                          <a:effectLst/>
                        </a:rPr>
                        <a:t>View History</a:t>
                      </a:r>
                      <a:endParaRPr lang="nl-BE" sz="2400" dirty="0">
                        <a:effectLst/>
                        <a:latin typeface="Segoe UI Light" panose="020B0502040204020203" pitchFamily="34" charset="0"/>
                        <a:cs typeface="Segoe UI Light" panose="020B0502040204020203" pitchFamily="34" charset="0"/>
                      </a:endParaRPr>
                    </a:p>
                  </a:txBody>
                  <a:tcPr marL="68002" marR="68002" marT="46630" marB="46630" anchor="ctr"/>
                </a:tc>
                <a:extLst>
                  <a:ext uri="{0D108BD9-81ED-4DB2-BD59-A6C34878D82A}">
                    <a16:rowId xmlns:a16="http://schemas.microsoft.com/office/drawing/2014/main" val="1179277429"/>
                  </a:ext>
                </a:extLst>
              </a:tr>
            </a:tbl>
          </a:graphicData>
        </a:graphic>
      </p:graphicFrame>
    </p:spTree>
    <p:extLst>
      <p:ext uri="{BB962C8B-B14F-4D97-AF65-F5344CB8AC3E}">
        <p14:creationId xmlns:p14="http://schemas.microsoft.com/office/powerpoint/2010/main" val="269361397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Scheduling jobs using Azure Automation</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1487953619"/>
      </p:ext>
    </p:extLst>
  </p:cSld>
  <p:clrMapOvr>
    <a:masterClrMapping/>
  </p:clrMapOvr>
  <p:transition spd="slow"/>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1775931326"/>
      </p:ext>
    </p:extLst>
  </p:cSld>
  <p:clrMapOvr>
    <a:masterClrMapping/>
  </p:clrMapOvr>
  <p:transition spd="slow"/>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1049170567"/>
              </p:ext>
            </p:extLst>
          </p:nvPr>
        </p:nvGraphicFramePr>
        <p:xfrm>
          <a:off x="655638" y="1408113"/>
          <a:ext cx="10880725" cy="30114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061332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graphicEl>
                                              <a:dgm id="{86989247-99F6-4AF2-B76D-35A7CDAFD370}"/>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graphicEl>
                                              <a:dgm id="{A5F39E97-65C6-43B1-B3C1-20A35D170009}"/>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graphicEl>
                                              <a:dgm id="{89B78076-25D5-457E-A6BA-FD4B9CAE144E}"/>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Dgm bld="one"/>
        </p:bldSub>
      </p:bldGraphic>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9631362" cy="604798"/>
          </a:xfrm>
        </p:spPr>
        <p:txBody>
          <a:bodyPr/>
          <a:lstStyle/>
          <a:p>
            <a:r>
              <a:rPr lang="en-US" dirty="0"/>
              <a:t>Lesson 4: Azure SQL Database Read Scale-Out</a:t>
            </a:r>
          </a:p>
        </p:txBody>
      </p:sp>
    </p:spTree>
    <p:extLst>
      <p:ext uri="{BB962C8B-B14F-4D97-AF65-F5344CB8AC3E}">
        <p14:creationId xmlns:p14="http://schemas.microsoft.com/office/powerpoint/2010/main" val="260490134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se read-only replicas to load balance read-only query workload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1403018791"/>
      </p:ext>
    </p:extLst>
  </p:cSld>
  <p:clrMapOvr>
    <a:masterClrMapping/>
  </p:clrMapOvr>
  <p:transition spd="slow"/>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A84ED15-ABB9-495A-8A03-3A131DE88582}"/>
              </a:ext>
            </a:extLst>
          </p:cNvPr>
          <p:cNvSpPr>
            <a:spLocks noGrp="1"/>
          </p:cNvSpPr>
          <p:nvPr>
            <p:ph type="title"/>
          </p:nvPr>
        </p:nvSpPr>
        <p:spPr>
          <a:xfrm>
            <a:off x="655638" y="320040"/>
            <a:ext cx="10880725" cy="461665"/>
          </a:xfrm>
        </p:spPr>
        <p:txBody>
          <a:bodyPr/>
          <a:lstStyle/>
          <a:p>
            <a:r>
              <a:rPr lang="en-US" dirty="0"/>
              <a:t>Introduction – Read Scale-Out  </a:t>
            </a:r>
          </a:p>
        </p:txBody>
      </p:sp>
      <p:graphicFrame>
        <p:nvGraphicFramePr>
          <p:cNvPr id="7" name="Content Placeholder 6">
            <a:extLst>
              <a:ext uri="{FF2B5EF4-FFF2-40B4-BE49-F238E27FC236}">
                <a16:creationId xmlns:a16="http://schemas.microsoft.com/office/drawing/2014/main" id="{1767E969-95E0-4490-B36A-DD7E44648359}"/>
              </a:ext>
            </a:extLst>
          </p:cNvPr>
          <p:cNvGraphicFramePr>
            <a:graphicFrameLocks noGrp="1"/>
          </p:cNvGraphicFramePr>
          <p:nvPr>
            <p:ph sz="quarter" idx="13"/>
            <p:extLst>
              <p:ext uri="{D42A27DB-BD31-4B8C-83A1-F6EECF244321}">
                <p14:modId xmlns:p14="http://schemas.microsoft.com/office/powerpoint/2010/main" val="3629664551"/>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1975247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A84ED15-ABB9-495A-8A03-3A131DE88582}"/>
              </a:ext>
            </a:extLst>
          </p:cNvPr>
          <p:cNvSpPr>
            <a:spLocks noGrp="1"/>
          </p:cNvSpPr>
          <p:nvPr>
            <p:ph type="title"/>
          </p:nvPr>
        </p:nvSpPr>
        <p:spPr>
          <a:xfrm>
            <a:off x="655638" y="320040"/>
            <a:ext cx="10880725" cy="461665"/>
          </a:xfrm>
        </p:spPr>
        <p:txBody>
          <a:bodyPr/>
          <a:lstStyle/>
          <a:p>
            <a:r>
              <a:rPr lang="en-US" dirty="0"/>
              <a:t>Key Points </a:t>
            </a:r>
          </a:p>
        </p:txBody>
      </p:sp>
      <p:pic>
        <p:nvPicPr>
          <p:cNvPr id="4" name="Picture 3">
            <a:extLst>
              <a:ext uri="{FF2B5EF4-FFF2-40B4-BE49-F238E27FC236}">
                <a16:creationId xmlns:a16="http://schemas.microsoft.com/office/drawing/2014/main" id="{0F29210E-2A6E-4B15-B327-C98021D0CACC}"/>
              </a:ext>
            </a:extLst>
          </p:cNvPr>
          <p:cNvPicPr>
            <a:picLocks noChangeAspect="1"/>
          </p:cNvPicPr>
          <p:nvPr/>
        </p:nvPicPr>
        <p:blipFill>
          <a:blip r:embed="rId3"/>
          <a:stretch>
            <a:fillRect/>
          </a:stretch>
        </p:blipFill>
        <p:spPr>
          <a:xfrm>
            <a:off x="7138737" y="1652289"/>
            <a:ext cx="4712031" cy="4331299"/>
          </a:xfrm>
          <a:prstGeom prst="rect">
            <a:avLst/>
          </a:prstGeom>
        </p:spPr>
      </p:pic>
      <p:graphicFrame>
        <p:nvGraphicFramePr>
          <p:cNvPr id="7" name="Content Placeholder 6">
            <a:extLst>
              <a:ext uri="{FF2B5EF4-FFF2-40B4-BE49-F238E27FC236}">
                <a16:creationId xmlns:a16="http://schemas.microsoft.com/office/drawing/2014/main" id="{8609A548-C888-4283-8BB1-1C27A8601CFE}"/>
              </a:ext>
            </a:extLst>
          </p:cNvPr>
          <p:cNvGraphicFramePr>
            <a:graphicFrameLocks noGrp="1"/>
          </p:cNvGraphicFramePr>
          <p:nvPr>
            <p:ph sz="quarter" idx="13"/>
            <p:extLst>
              <p:ext uri="{D42A27DB-BD31-4B8C-83A1-F6EECF244321}">
                <p14:modId xmlns:p14="http://schemas.microsoft.com/office/powerpoint/2010/main" val="3244819801"/>
              </p:ext>
            </p:extLst>
          </p:nvPr>
        </p:nvGraphicFramePr>
        <p:xfrm>
          <a:off x="655638" y="1408113"/>
          <a:ext cx="6049962"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89671743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A84ED15-ABB9-495A-8A03-3A131DE88582}"/>
              </a:ext>
            </a:extLst>
          </p:cNvPr>
          <p:cNvSpPr>
            <a:spLocks noGrp="1"/>
          </p:cNvSpPr>
          <p:nvPr>
            <p:ph type="title"/>
          </p:nvPr>
        </p:nvSpPr>
        <p:spPr/>
        <p:txBody>
          <a:bodyPr/>
          <a:lstStyle/>
          <a:p>
            <a:r>
              <a:rPr lang="en-US" dirty="0"/>
              <a:t>How to use Read Scale-Out?</a:t>
            </a:r>
          </a:p>
        </p:txBody>
      </p:sp>
      <p:graphicFrame>
        <p:nvGraphicFramePr>
          <p:cNvPr id="3" name="Content Placeholder 2">
            <a:extLst>
              <a:ext uri="{FF2B5EF4-FFF2-40B4-BE49-F238E27FC236}">
                <a16:creationId xmlns:a16="http://schemas.microsoft.com/office/drawing/2014/main" id="{27B8C08B-01C9-40E4-A959-C75413CB4937}"/>
              </a:ext>
            </a:extLst>
          </p:cNvPr>
          <p:cNvGraphicFramePr>
            <a:graphicFrameLocks noGrp="1"/>
          </p:cNvGraphicFramePr>
          <p:nvPr>
            <p:ph sz="quarter" idx="13"/>
            <p:extLst>
              <p:ext uri="{D42A27DB-BD31-4B8C-83A1-F6EECF244321}">
                <p14:modId xmlns:p14="http://schemas.microsoft.com/office/powerpoint/2010/main" val="1256839815"/>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hought Bubble: Cloud 3">
            <a:extLst>
              <a:ext uri="{FF2B5EF4-FFF2-40B4-BE49-F238E27FC236}">
                <a16:creationId xmlns:a16="http://schemas.microsoft.com/office/drawing/2014/main" id="{75FAA6F0-AC46-489E-88C7-2F5B6A6C63FC}"/>
              </a:ext>
            </a:extLst>
          </p:cNvPr>
          <p:cNvSpPr/>
          <p:nvPr/>
        </p:nvSpPr>
        <p:spPr bwMode="auto">
          <a:xfrm>
            <a:off x="4876800" y="781705"/>
            <a:ext cx="4200323" cy="917575"/>
          </a:xfrm>
          <a:prstGeom prst="cloudCallout">
            <a:avLst>
              <a:gd name="adj1" fmla="val -21778"/>
              <a:gd name="adj2" fmla="val -67880"/>
            </a:avLst>
          </a:prstGeom>
          <a:solidFill>
            <a:srgbClr val="002050"/>
          </a:solidFill>
          <a:ln w="9525" cap="flat" cmpd="sng" algn="ctr">
            <a:noFill/>
            <a:prstDash val="solid"/>
            <a:headEnd type="none" w="med" len="med"/>
            <a:tailEnd type="none" w="med" len="med"/>
          </a:ln>
          <a:effectLst>
            <a:glow rad="127000">
              <a:srgbClr val="002050">
                <a:alpha val="0"/>
              </a:srgbClr>
            </a:glo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Segoe UI (Body)"/>
                <a:ea typeface="+mn-ea"/>
                <a:cs typeface="+mn-cs"/>
              </a:rPr>
              <a:t>If your database is geo-replicated, be sure the read scale-out is enabled on both primary and geo-replicated secondary databases.</a:t>
            </a:r>
            <a:endParaRPr kumimoji="0" lang="es-ES" sz="1000" b="0" i="0" u="none" strike="noStrike" kern="0" cap="none" spc="0" normalizeH="0" baseline="0" noProof="0" dirty="0">
              <a:ln>
                <a:noFill/>
              </a:ln>
              <a:solidFill>
                <a:srgbClr val="FFFFFF"/>
              </a:solidFill>
              <a:effectLst/>
              <a:uLnTx/>
              <a:uFillTx/>
              <a:latin typeface="Segoe UI (Body)"/>
              <a:ea typeface="+mn-ea"/>
              <a:cs typeface="+mn-cs"/>
            </a:endParaRPr>
          </a:p>
          <a:p>
            <a:pPr marL="0" marR="0" lvl="0" indent="0" algn="ctr" defTabSz="932472" eaLnBrk="1" fontAlgn="base" latinLnBrk="0" hangingPunct="1">
              <a:lnSpc>
                <a:spcPct val="90000"/>
              </a:lnSpc>
              <a:spcBef>
                <a:spcPct val="0"/>
              </a:spcBef>
              <a:spcAft>
                <a:spcPct val="0"/>
              </a:spcAft>
              <a:buClrTx/>
              <a:buSzTx/>
              <a:buFontTx/>
              <a:buNone/>
              <a:tabLst/>
              <a:defRPr/>
            </a:pPr>
            <a:endParaRPr kumimoji="0" lang="es-E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945211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graphicEl>
                                              <a:dgm id="{AB72F1D4-59D0-4A2F-9BE1-009D9D6180E8}"/>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graphicEl>
                                              <a:dgm id="{0CA19D99-6341-4AA5-8ADE-C7331799DC17}"/>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graphicEl>
                                              <a:dgm id="{583E3025-8C21-4ED9-8CD1-885CF788710B}"/>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graphicEl>
                                              <a:dgm id="{2D4FC1E7-3604-430E-A363-00FE15F3D8FE}"/>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graphicEl>
                                              <a:dgm id="{669A4D86-6CC0-458B-B7AF-EBCDF87B3CC1}"/>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graphicEl>
                                              <a:dgm id="{9C128D4E-4FD8-4524-B3C0-555AF1F33DB8}"/>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4"/>
                                        </p:tgtEl>
                                        <p:attrNameLst>
                                          <p:attrName>style.visibility</p:attrName>
                                        </p:attrNameLst>
                                      </p:cBhvr>
                                      <p:to>
                                        <p:strVal val="visible"/>
                                      </p:to>
                                    </p:set>
                                    <p:animEffect transition="in" filter="fade">
                                      <p:cBhvr>
                                        <p:cTn id="3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Dgm bld="one"/>
        </p:bldSub>
      </p:bldGraphic>
      <p:bldP spid="4"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Know the different tools that you can use to manage your Azure SQL Database.</a:t>
            </a:r>
          </a:p>
          <a:p>
            <a:pPr marL="0" indent="0">
              <a:buNone/>
            </a:pPr>
            <a:endParaRPr lang="en-US" dirty="0"/>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621600474"/>
      </p:ext>
    </p:extLst>
  </p:cSld>
  <p:clrMapOvr>
    <a:masterClrMapping/>
  </p:clrMapOvr>
  <p:transition spd="slow"/>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b="1" dirty="0"/>
              <a:t>Enable and disable Read Scale-Out</a:t>
            </a:r>
          </a:p>
          <a:p>
            <a:pPr marL="571500" lvl="1" indent="-342900">
              <a:buFont typeface="Arial" panose="020B0604020202020204" pitchFamily="34" charset="0"/>
              <a:buChar char="•"/>
            </a:pPr>
            <a:r>
              <a:rPr lang="en-US" dirty="0"/>
              <a:t>Enabling a database with read scale-out.</a:t>
            </a:r>
          </a:p>
          <a:p>
            <a:pPr marL="571500" lvl="1" indent="-342900">
              <a:buFont typeface="Arial" panose="020B0604020202020204" pitchFamily="34" charset="0"/>
              <a:buChar char="•"/>
            </a:pPr>
            <a:r>
              <a:rPr lang="en-US" dirty="0"/>
              <a:t>Connecting to a Read Scale-Out replica.</a:t>
            </a:r>
          </a:p>
          <a:p>
            <a:pPr marL="571500" lvl="1" indent="-342900">
              <a:buFont typeface="Arial" panose="020B0604020202020204" pitchFamily="34" charset="0"/>
              <a:buChar char="•"/>
            </a:pPr>
            <a:r>
              <a:rPr lang="en-US" dirty="0"/>
              <a:t>Disabling read scale-out.</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159196581"/>
      </p:ext>
    </p:extLst>
  </p:cSld>
  <p:clrMapOvr>
    <a:masterClrMapping/>
  </p:clrMapOvr>
  <p:transition spd="slow"/>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3001108781"/>
      </p:ext>
    </p:extLst>
  </p:cSld>
  <p:clrMapOvr>
    <a:masterClrMapping/>
  </p:clrMapOvr>
  <p:transition spd="slow"/>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1986353057"/>
              </p:ext>
            </p:extLst>
          </p:nvPr>
        </p:nvGraphicFramePr>
        <p:xfrm>
          <a:off x="655638" y="1408113"/>
          <a:ext cx="10880725" cy="35448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928468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graphicEl>
                                              <a:dgm id="{86989247-99F6-4AF2-B76D-35A7CDAFD370}"/>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graphicEl>
                                              <a:dgm id="{032772B6-DE17-406B-BD35-B852F21446DB}"/>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graphicEl>
                                              <a:dgm id="{BE72819C-846B-4F06-8212-D8C80317CEA8}"/>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Dgm bld="one"/>
        </p:bldSub>
      </p:bldGraphic>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dirty="0"/>
              <a:t>Module Summary</a:t>
            </a:r>
          </a:p>
        </p:txBody>
      </p:sp>
      <p:graphicFrame>
        <p:nvGraphicFramePr>
          <p:cNvPr id="4" name="Diagram 3">
            <a:extLst>
              <a:ext uri="{FF2B5EF4-FFF2-40B4-BE49-F238E27FC236}">
                <a16:creationId xmlns:a16="http://schemas.microsoft.com/office/drawing/2014/main" id="{233B4DBA-9A48-44B9-9ED6-D4E38E955F14}"/>
              </a:ext>
            </a:extLst>
          </p:cNvPr>
          <p:cNvGraphicFramePr/>
          <p:nvPr>
            <p:extLst>
              <p:ext uri="{D42A27DB-BD31-4B8C-83A1-F6EECF244321}">
                <p14:modId xmlns:p14="http://schemas.microsoft.com/office/powerpoint/2010/main" val="497517734"/>
              </p:ext>
            </p:extLst>
          </p:nvPr>
        </p:nvGraphicFramePr>
        <p:xfrm>
          <a:off x="5008562" y="630238"/>
          <a:ext cx="6726237" cy="55975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1560479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6499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QL Server Management Studio</a:t>
            </a:r>
          </a:p>
        </p:txBody>
      </p:sp>
      <p:graphicFrame>
        <p:nvGraphicFramePr>
          <p:cNvPr id="5" name="Content Placeholder 4">
            <a:extLst>
              <a:ext uri="{FF2B5EF4-FFF2-40B4-BE49-F238E27FC236}">
                <a16:creationId xmlns:a16="http://schemas.microsoft.com/office/drawing/2014/main" id="{44F13A54-B944-40A1-8689-3446C1EFC78F}"/>
              </a:ext>
            </a:extLst>
          </p:cNvPr>
          <p:cNvGraphicFramePr>
            <a:graphicFrameLocks noGrp="1"/>
          </p:cNvGraphicFramePr>
          <p:nvPr>
            <p:ph sz="quarter" idx="13"/>
            <p:extLst>
              <p:ext uri="{D42A27DB-BD31-4B8C-83A1-F6EECF244321}">
                <p14:modId xmlns:p14="http://schemas.microsoft.com/office/powerpoint/2010/main" val="3248574635"/>
              </p:ext>
            </p:extLst>
          </p:nvPr>
        </p:nvGraphicFramePr>
        <p:xfrm>
          <a:off x="655638" y="1408114"/>
          <a:ext cx="5211762"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a:extLst>
              <a:ext uri="{FF2B5EF4-FFF2-40B4-BE49-F238E27FC236}">
                <a16:creationId xmlns:a16="http://schemas.microsoft.com/office/drawing/2014/main" id="{6B25E94A-60E1-4DC8-BCE5-92E255C1B6F8}"/>
              </a:ext>
            </a:extLst>
          </p:cNvPr>
          <p:cNvPicPr>
            <a:picLocks noChangeAspect="1"/>
          </p:cNvPicPr>
          <p:nvPr/>
        </p:nvPicPr>
        <p:blipFill>
          <a:blip r:embed="rId8"/>
          <a:stretch>
            <a:fillRect/>
          </a:stretch>
        </p:blipFill>
        <p:spPr>
          <a:xfrm>
            <a:off x="6318071" y="1981200"/>
            <a:ext cx="5440362" cy="3452209"/>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2352700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QL Server Data Tools</a:t>
            </a:r>
          </a:p>
        </p:txBody>
      </p:sp>
      <p:pic>
        <p:nvPicPr>
          <p:cNvPr id="5" name="Picture 4">
            <a:extLst>
              <a:ext uri="{FF2B5EF4-FFF2-40B4-BE49-F238E27FC236}">
                <a16:creationId xmlns:a16="http://schemas.microsoft.com/office/drawing/2014/main" id="{AEB8F5DA-4F4A-4228-B0DD-E6DC2E88E4EB}"/>
              </a:ext>
            </a:extLst>
          </p:cNvPr>
          <p:cNvPicPr>
            <a:picLocks noChangeAspect="1"/>
          </p:cNvPicPr>
          <p:nvPr/>
        </p:nvPicPr>
        <p:blipFill>
          <a:blip r:embed="rId3"/>
          <a:stretch>
            <a:fillRect/>
          </a:stretch>
        </p:blipFill>
        <p:spPr>
          <a:xfrm>
            <a:off x="7924800" y="1658717"/>
            <a:ext cx="3429000" cy="4150165"/>
          </a:xfrm>
          <a:prstGeom prst="rect">
            <a:avLst/>
          </a:prstGeom>
          <a:ln>
            <a:noFill/>
          </a:ln>
          <a:effectLst>
            <a:outerShdw blurRad="190500" algn="tl" rotWithShape="0">
              <a:srgbClr val="000000">
                <a:alpha val="70000"/>
              </a:srgbClr>
            </a:outerShdw>
          </a:effectLst>
        </p:spPr>
      </p:pic>
      <p:graphicFrame>
        <p:nvGraphicFramePr>
          <p:cNvPr id="8" name="Content Placeholder 7">
            <a:extLst>
              <a:ext uri="{FF2B5EF4-FFF2-40B4-BE49-F238E27FC236}">
                <a16:creationId xmlns:a16="http://schemas.microsoft.com/office/drawing/2014/main" id="{BC7EFFA1-586E-4008-A8CE-D83226DF0B18}"/>
              </a:ext>
            </a:extLst>
          </p:cNvPr>
          <p:cNvGraphicFramePr>
            <a:graphicFrameLocks noGrp="1"/>
          </p:cNvGraphicFramePr>
          <p:nvPr>
            <p:ph sz="quarter" idx="13"/>
            <p:extLst>
              <p:ext uri="{D42A27DB-BD31-4B8C-83A1-F6EECF244321}">
                <p14:modId xmlns:p14="http://schemas.microsoft.com/office/powerpoint/2010/main" val="4242488474"/>
              </p:ext>
            </p:extLst>
          </p:nvPr>
        </p:nvGraphicFramePr>
        <p:xfrm>
          <a:off x="655639" y="1408113"/>
          <a:ext cx="6735761" cy="440076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5181754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Azure Data Studio</a:t>
            </a:r>
          </a:p>
        </p:txBody>
      </p:sp>
      <p:graphicFrame>
        <p:nvGraphicFramePr>
          <p:cNvPr id="6" name="Content Placeholder 5">
            <a:extLst>
              <a:ext uri="{FF2B5EF4-FFF2-40B4-BE49-F238E27FC236}">
                <a16:creationId xmlns:a16="http://schemas.microsoft.com/office/drawing/2014/main" id="{6609E0FD-FE6D-4ABA-833A-E4051D589540}"/>
              </a:ext>
            </a:extLst>
          </p:cNvPr>
          <p:cNvGraphicFramePr>
            <a:graphicFrameLocks noGrp="1"/>
          </p:cNvGraphicFramePr>
          <p:nvPr>
            <p:ph sz="quarter" idx="13"/>
            <p:extLst>
              <p:ext uri="{D42A27DB-BD31-4B8C-83A1-F6EECF244321}">
                <p14:modId xmlns:p14="http://schemas.microsoft.com/office/powerpoint/2010/main" val="2904838513"/>
              </p:ext>
            </p:extLst>
          </p:nvPr>
        </p:nvGraphicFramePr>
        <p:xfrm>
          <a:off x="655638" y="1235376"/>
          <a:ext cx="4525962"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a:extLst>
              <a:ext uri="{FF2B5EF4-FFF2-40B4-BE49-F238E27FC236}">
                <a16:creationId xmlns:a16="http://schemas.microsoft.com/office/drawing/2014/main" id="{44153B42-3840-467A-84A5-C6EE8935317C}"/>
              </a:ext>
            </a:extLst>
          </p:cNvPr>
          <p:cNvPicPr>
            <a:picLocks noChangeAspect="1"/>
          </p:cNvPicPr>
          <p:nvPr/>
        </p:nvPicPr>
        <p:blipFill>
          <a:blip r:embed="rId8"/>
          <a:stretch>
            <a:fillRect/>
          </a:stretch>
        </p:blipFill>
        <p:spPr>
          <a:xfrm>
            <a:off x="6091646" y="1136936"/>
            <a:ext cx="5570779" cy="5016529"/>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069560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Management APIs</a:t>
            </a:r>
          </a:p>
        </p:txBody>
      </p:sp>
      <p:graphicFrame>
        <p:nvGraphicFramePr>
          <p:cNvPr id="10" name="Content Placeholder 9">
            <a:extLst>
              <a:ext uri="{FF2B5EF4-FFF2-40B4-BE49-F238E27FC236}">
                <a16:creationId xmlns:a16="http://schemas.microsoft.com/office/drawing/2014/main" id="{417DBFC5-4E56-44CE-9AC4-AC0734290384}"/>
              </a:ext>
            </a:extLst>
          </p:cNvPr>
          <p:cNvGraphicFramePr>
            <a:graphicFrameLocks noGrp="1"/>
          </p:cNvGraphicFramePr>
          <p:nvPr>
            <p:ph sz="quarter" idx="13"/>
            <p:extLst>
              <p:ext uri="{D42A27DB-BD31-4B8C-83A1-F6EECF244321}">
                <p14:modId xmlns:p14="http://schemas.microsoft.com/office/powerpoint/2010/main" val="2461818386"/>
              </p:ext>
            </p:extLst>
          </p:nvPr>
        </p:nvGraphicFramePr>
        <p:xfrm>
          <a:off x="655638" y="1408113"/>
          <a:ext cx="5284787" cy="36210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1" name="Content Placeholder 10">
            <a:extLst>
              <a:ext uri="{FF2B5EF4-FFF2-40B4-BE49-F238E27FC236}">
                <a16:creationId xmlns:a16="http://schemas.microsoft.com/office/drawing/2014/main" id="{74904A73-2724-441B-8DB0-F187E4CF35D0}"/>
              </a:ext>
            </a:extLst>
          </p:cNvPr>
          <p:cNvGraphicFramePr>
            <a:graphicFrameLocks noGrp="1"/>
          </p:cNvGraphicFramePr>
          <p:nvPr>
            <p:ph sz="quarter" idx="14"/>
            <p:extLst>
              <p:ext uri="{D42A27DB-BD31-4B8C-83A1-F6EECF244321}">
                <p14:modId xmlns:p14="http://schemas.microsoft.com/office/powerpoint/2010/main" val="1922858950"/>
              </p:ext>
            </p:extLst>
          </p:nvPr>
        </p:nvGraphicFramePr>
        <p:xfrm>
          <a:off x="6251576" y="1408113"/>
          <a:ext cx="5284785" cy="481965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13862287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13.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6.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17.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18.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19.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21.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22.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23.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24.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25.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26.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27.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28.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29.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0.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31.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9.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heme/theme1.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Offic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0.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1.xml><?xml version="1.0" encoding="utf-8"?>
<ct:contentTypeSchema xmlns:ct="http://schemas.microsoft.com/office/2006/metadata/contentType" xmlns:ma="http://schemas.microsoft.com/office/2006/metadata/properties/metaAttributes" ct:_="" ma:_="" ma:contentTypeName="Document" ma:contentTypeID="0x01010002528CD5CA8D1C4FB5CF073D0D91135B" ma:contentTypeVersion="14" ma:contentTypeDescription="Create a new document." ma:contentTypeScope="" ma:versionID="1df681d697d8aac7f77a088f07a7b417">
  <xsd:schema xmlns:xsd="http://www.w3.org/2001/XMLSchema" xmlns:xs="http://www.w3.org/2001/XMLSchema" xmlns:p="http://schemas.microsoft.com/office/2006/metadata/properties" xmlns:ns1="http://schemas.microsoft.com/sharepoint/v3" xmlns:ns2="0b15a96f-9efd-4f0c-b199-c53b2a01cb9d" xmlns:ns3="b66b6bb9-0c3b-4baf-b7e0-24038b18f231" targetNamespace="http://schemas.microsoft.com/office/2006/metadata/properties" ma:root="true" ma:fieldsID="5129d515aaa5dedb4e6d2d94ccbda6ba" ns1:_="" ns2:_="" ns3:_="">
    <xsd:import namespace="http://schemas.microsoft.com/sharepoint/v3"/>
    <xsd:import namespace="0b15a96f-9efd-4f0c-b199-c53b2a01cb9d"/>
    <xsd:import namespace="b66b6bb9-0c3b-4baf-b7e0-24038b18f23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ServiceDateTaken" minOccurs="0"/>
                <xsd:element ref="ns2:MediaServiceAutoKeyPoints" minOccurs="0"/>
                <xsd:element ref="ns2:MediaServiceKeyPoints" minOccurs="0"/>
                <xsd:element ref="ns3:SharedWithUsers" minOccurs="0"/>
                <xsd:element ref="ns3:SharedWithDetails" minOccurs="0"/>
                <xsd:element ref="ns2:_Flow_Signoff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b15a96f-9efd-4f0c-b199-c53b2a01cb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_Flow_SignoffStatus" ma:index="21" nillable="true" ma:displayName="Sign-off status" ma:internalName="Sign_x002d_off_x0020_status">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3.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4.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5.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6.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7.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4.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9.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0</_ip_UnifiedCompliancePolicyUIAction>
    <_ip_UnifiedCompliancePolicyProperties xmlns="http://schemas.microsoft.com/sharepoint/v3">{"__type":"ComplianceItemProperties:#Microsoft.Office.CompliancePolicy.ComplianceData","LastPolicyEvaluatedTimeUtc":"2020-04-30T20:05:38.8034053Z","Rules":{"0c7fbd91-e10c-46cd-b2e3-5bcaeda0676a":{"Actions":{"TagShowPolicyTip":{"ActionName":"TagShowPolicyTip","CodeVersion":"1.0.3.0","LastAppliedTimeUTC":"2020-04-30T20:05:15.5063633Z","Properties":null,"RuleVersion":"0"},"NotifyUser":{"ActionName":"NotifyUser","CodeVersion":"1.0.3.0","LastAppliedTimeUTC":"2020-04-30T20:05:15.5063633Z","Properties":null,"RuleVersion":"0"},"GenerateIncidentReport":{"ActionName":"GenerateIncidentReport","CodeVersion":"1.0.2.0","LastAppliedTimeUTC":"2020-04-30T20:05:38.7721511Z","Properties":null,"RuleVersion":"0"},"TagReporting":{"ActionName":"TagReporting","CodeVersion":"1.00.0002.000","LastAppliedTimeUTC":"2020-04-30T20:05:38.8034053Z","Properties":{},"RuleVersion":"0"}},"Properties":{},"RuleId":"0c7fbd91-e10c-46cd-b2e3-5bcaeda0676a","Scenario":0}},"UniqueId":"b5ecdce3-c669-4008-8c77-b831f60f77d2"}</_ip_UnifiedCompliancePolicyProperties>
    <MediaServiceKeyPoints xmlns="0b15a96f-9efd-4f0c-b199-c53b2a01cb9d" xsi:nil="true"/>
    <_Flow_SignoffStatus xmlns="0b15a96f-9efd-4f0c-b199-c53b2a01cb9d" xsi:nil="true"/>
  </documentManagement>
</p:properties>
</file>

<file path=customXml/itemProps1.xml><?xml version="1.0" encoding="utf-8"?>
<ds:datastoreItem xmlns:ds="http://schemas.openxmlformats.org/officeDocument/2006/customXml" ds:itemID="{12139F82-FEAD-40F5-87FE-244CAEC929CC}">
  <ds:schemaRefs>
    <ds:schemaRef ds:uri="Strauss.PersonalizationDefinition"/>
  </ds:schemaRefs>
</ds:datastoreItem>
</file>

<file path=customXml/itemProps10.xml><?xml version="1.0" encoding="utf-8"?>
<ds:datastoreItem xmlns:ds="http://schemas.openxmlformats.org/officeDocument/2006/customXml" ds:itemID="{B362C1BF-4186-40E0-8A26-E7CDAC3FE693}">
  <ds:schemaRefs>
    <ds:schemaRef ds:uri="Strauss.PersonalizationDefinition"/>
  </ds:schemaRefs>
</ds:datastoreItem>
</file>

<file path=customXml/itemProps11.xml><?xml version="1.0" encoding="utf-8"?>
<ds:datastoreItem xmlns:ds="http://schemas.openxmlformats.org/officeDocument/2006/customXml" ds:itemID="{DB2446CA-0D1D-4FFD-B3CD-2AF267D711C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b15a96f-9efd-4f0c-b199-c53b2a01cb9d"/>
    <ds:schemaRef ds:uri="b66b6bb9-0c3b-4baf-b7e0-24038b18f2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2.xml><?xml version="1.0" encoding="utf-8"?>
<ds:datastoreItem xmlns:ds="http://schemas.openxmlformats.org/officeDocument/2006/customXml" ds:itemID="{1B65D760-CEAB-4E24-B0BE-755F3329E48D}">
  <ds:schemaRefs>
    <ds:schemaRef ds:uri="Strauss.PersonalizationDefinition"/>
  </ds:schemaRefs>
</ds:datastoreItem>
</file>

<file path=customXml/itemProps13.xml><?xml version="1.0" encoding="utf-8"?>
<ds:datastoreItem xmlns:ds="http://schemas.openxmlformats.org/officeDocument/2006/customXml" ds:itemID="{7C42A160-080E-4178-8FDB-B5422D4D778A}">
  <ds:schemaRefs>
    <ds:schemaRef ds:uri="Strauss.PersonalizationDefinition"/>
  </ds:schemaRefs>
</ds:datastoreItem>
</file>

<file path=customXml/itemProps14.xml><?xml version="1.0" encoding="utf-8"?>
<ds:datastoreItem xmlns:ds="http://schemas.openxmlformats.org/officeDocument/2006/customXml" ds:itemID="{CD086AF5-CCD3-41C8-B98A-2B159789D38E}">
  <ds:schemaRefs>
    <ds:schemaRef ds:uri="Strauss.PersonalizationDefinition"/>
  </ds:schemaRefs>
</ds:datastoreItem>
</file>

<file path=customXml/itemProps15.xml><?xml version="1.0" encoding="utf-8"?>
<ds:datastoreItem xmlns:ds="http://schemas.openxmlformats.org/officeDocument/2006/customXml" ds:itemID="{9CFE9A22-C3CB-45B7-B365-FE59FD6BB66B}">
  <ds:schemaRefs>
    <ds:schemaRef ds:uri="Strauss.PersonalizationDefinition"/>
  </ds:schemaRefs>
</ds:datastoreItem>
</file>

<file path=customXml/itemProps16.xml><?xml version="1.0" encoding="utf-8"?>
<ds:datastoreItem xmlns:ds="http://schemas.openxmlformats.org/officeDocument/2006/customXml" ds:itemID="{75C05EC8-D295-4080-807A-6EA8C339A657}">
  <ds:schemaRefs>
    <ds:schemaRef ds:uri="Strauss.PersonalizationDefinition"/>
  </ds:schemaRefs>
</ds:datastoreItem>
</file>

<file path=customXml/itemProps17.xml><?xml version="1.0" encoding="utf-8"?>
<ds:datastoreItem xmlns:ds="http://schemas.openxmlformats.org/officeDocument/2006/customXml" ds:itemID="{9EEC7FED-AC7D-45C9-8F29-C2C8A7233C3D}">
  <ds:schemaRefs>
    <ds:schemaRef ds:uri="Strauss.PersonalizationDefinition"/>
  </ds:schemaRefs>
</ds:datastoreItem>
</file>

<file path=customXml/itemProps2.xml><?xml version="1.0" encoding="utf-8"?>
<ds:datastoreItem xmlns:ds="http://schemas.openxmlformats.org/officeDocument/2006/customXml" ds:itemID="{8F4CBF12-53FB-4126-B801-12CCF3B1A0C2}">
  <ds:schemaRefs>
    <ds:schemaRef ds:uri="http://schemas.microsoft.com/sharepoint/v3/contenttype/forms"/>
  </ds:schemaRefs>
</ds:datastoreItem>
</file>

<file path=customXml/itemProps3.xml><?xml version="1.0" encoding="utf-8"?>
<ds:datastoreItem xmlns:ds="http://schemas.openxmlformats.org/officeDocument/2006/customXml" ds:itemID="{EF0FCEC8-A378-4DF9-8D3C-A87452B4CDD8}">
  <ds:schemaRefs>
    <ds:schemaRef ds:uri="Strauss.PersonalizationDefinition"/>
  </ds:schemaRefs>
</ds:datastoreItem>
</file>

<file path=customXml/itemProps4.xml><?xml version="1.0" encoding="utf-8"?>
<ds:datastoreItem xmlns:ds="http://schemas.openxmlformats.org/officeDocument/2006/customXml" ds:itemID="{11E2204E-7A65-46D0-AB35-6AD2C4EE6A3E}">
  <ds:schemaRefs>
    <ds:schemaRef ds:uri="Strauss.PersonalizationDefinition"/>
  </ds:schemaRefs>
</ds:datastoreItem>
</file>

<file path=customXml/itemProps5.xml><?xml version="1.0" encoding="utf-8"?>
<ds:datastoreItem xmlns:ds="http://schemas.openxmlformats.org/officeDocument/2006/customXml" ds:itemID="{CF43066C-A0FB-492E-AD47-2A85FD56DF11}">
  <ds:schemaRefs>
    <ds:schemaRef ds:uri="Strauss.PersonalizationDefinition"/>
  </ds:schemaRefs>
</ds:datastoreItem>
</file>

<file path=customXml/itemProps6.xml><?xml version="1.0" encoding="utf-8"?>
<ds:datastoreItem xmlns:ds="http://schemas.openxmlformats.org/officeDocument/2006/customXml" ds:itemID="{EBCC33FC-94BB-4B1D-A4C6-D2E6A3A4B1FD}">
  <ds:schemaRefs>
    <ds:schemaRef ds:uri="Strauss.PersonalizationDefinition"/>
  </ds:schemaRefs>
</ds:datastoreItem>
</file>

<file path=customXml/itemProps7.xml><?xml version="1.0" encoding="utf-8"?>
<ds:datastoreItem xmlns:ds="http://schemas.openxmlformats.org/officeDocument/2006/customXml" ds:itemID="{6A05B494-545A-4AB8-93B3-A34FAFBE0C2D}">
  <ds:schemaRefs>
    <ds:schemaRef ds:uri="Strauss.PersonalizationDefinition"/>
  </ds:schemaRefs>
</ds:datastoreItem>
</file>

<file path=customXml/itemProps8.xml><?xml version="1.0" encoding="utf-8"?>
<ds:datastoreItem xmlns:ds="http://schemas.openxmlformats.org/officeDocument/2006/customXml" ds:itemID="{BBD70CE2-A390-4D93-8C41-4CA1732F036F}">
  <ds:schemaRefs>
    <ds:schemaRef ds:uri="Strauss.PersonalizationDefinition"/>
  </ds:schemaRefs>
</ds:datastoreItem>
</file>

<file path=customXml/itemProps9.xml><?xml version="1.0" encoding="utf-8"?>
<ds:datastoreItem xmlns:ds="http://schemas.openxmlformats.org/officeDocument/2006/customXml" ds:itemID="{29401FDA-B3A3-44C9-A0D5-0403CEE244B7}">
  <ds:schemaRefs>
    <ds:schemaRef ds:uri="http://schemas.microsoft.com/office/2006/metadata/properties"/>
    <ds:schemaRef ds:uri="http://schemas.microsoft.com/office/infopath/2007/PartnerControls"/>
    <ds:schemaRef ds:uri="http://schemas.microsoft.com/sharepoint/v3"/>
    <ds:schemaRef ds:uri="0b15a96f-9efd-4f0c-b199-c53b2a01cb9d"/>
  </ds:schemaRefs>
</ds:datastoreItem>
</file>

<file path=docProps/app.xml><?xml version="1.0" encoding="utf-8"?>
<Properties xmlns="http://schemas.openxmlformats.org/officeDocument/2006/extended-properties" xmlns:vt="http://schemas.openxmlformats.org/officeDocument/2006/docPropsVTypes">
  <TotalTime>411</TotalTime>
  <Words>8513</Words>
  <Application>Microsoft Office PowerPoint</Application>
  <PresentationFormat>Widescreen</PresentationFormat>
  <Paragraphs>781</Paragraphs>
  <Slides>54</Slides>
  <Notes>47</Notes>
  <HiddenSlides>1</HiddenSlides>
  <MMClips>0</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54</vt:i4>
      </vt:variant>
    </vt:vector>
  </HeadingPairs>
  <TitlesOfParts>
    <vt:vector size="66" baseType="lpstr">
      <vt:lpstr>Arial</vt:lpstr>
      <vt:lpstr>Calibri Light</vt:lpstr>
      <vt:lpstr>Comic Sans MS</vt:lpstr>
      <vt:lpstr>Consolas</vt:lpstr>
      <vt:lpstr>Segoe Black</vt:lpstr>
      <vt:lpstr>Segoe UI</vt:lpstr>
      <vt:lpstr>Segoe UI (Body)</vt:lpstr>
      <vt:lpstr>Segoe UI Light</vt:lpstr>
      <vt:lpstr>Segoe UI Semibold</vt:lpstr>
      <vt:lpstr>Symbol</vt:lpstr>
      <vt:lpstr>Wingdings</vt:lpstr>
      <vt:lpstr>Dark Blue</vt:lpstr>
      <vt:lpstr>Azure SQL Database Administration</vt:lpstr>
      <vt:lpstr>PowerPoint Presentation</vt:lpstr>
      <vt:lpstr>Learning Units covered in this Module</vt:lpstr>
      <vt:lpstr>Lesson 1: Various Tools to Manage Azure SQL Database</vt:lpstr>
      <vt:lpstr>Objectives</vt:lpstr>
      <vt:lpstr>SQL Server Management Studio</vt:lpstr>
      <vt:lpstr>SQL Server Data Tools</vt:lpstr>
      <vt:lpstr>Azure Data Studio</vt:lpstr>
      <vt:lpstr>Management APIs</vt:lpstr>
      <vt:lpstr>Management APIs</vt:lpstr>
      <vt:lpstr>Azure Portal</vt:lpstr>
      <vt:lpstr>Demonstration </vt:lpstr>
      <vt:lpstr>Various Tools to Manage Azure SQL Database</vt:lpstr>
      <vt:lpstr>Questions?</vt:lpstr>
      <vt:lpstr>Knowledge Check</vt:lpstr>
      <vt:lpstr>Lesson 2: Scaling Azure SQL Databases Up and Down</vt:lpstr>
      <vt:lpstr>Objectives</vt:lpstr>
      <vt:lpstr>Introduction – Scale up or down </vt:lpstr>
      <vt:lpstr>Vertical Scaling</vt:lpstr>
      <vt:lpstr>Changing Performance Levels (DTU)</vt:lpstr>
      <vt:lpstr>Changing Performance Levels (vCore)</vt:lpstr>
      <vt:lpstr>Changing Performance Levels (New Layout)</vt:lpstr>
      <vt:lpstr>Impact of Database Changes</vt:lpstr>
      <vt:lpstr>Impact of Database Changes (continued)</vt:lpstr>
      <vt:lpstr>Demonstration</vt:lpstr>
      <vt:lpstr>Scale up or down an Azure SQL Database</vt:lpstr>
      <vt:lpstr>Questions?</vt:lpstr>
      <vt:lpstr>Knowledge Check</vt:lpstr>
      <vt:lpstr>Lesson 3: Maintenance and Scheduling Jobs in Azure SQL Database</vt:lpstr>
      <vt:lpstr>Objectives</vt:lpstr>
      <vt:lpstr>Maintenance Tasks</vt:lpstr>
      <vt:lpstr>What are Elastic Database Jobs?</vt:lpstr>
      <vt:lpstr>Why use Elastic Jobs?</vt:lpstr>
      <vt:lpstr>Elastic Job Components</vt:lpstr>
      <vt:lpstr>Credentials for running jobs</vt:lpstr>
      <vt:lpstr>Elastic Database Jobs</vt:lpstr>
      <vt:lpstr>Scheduling Jobs</vt:lpstr>
      <vt:lpstr>Using SQL Server Agent</vt:lpstr>
      <vt:lpstr>Azure Automation</vt:lpstr>
      <vt:lpstr>Azure Automation - Runbook</vt:lpstr>
      <vt:lpstr>Azure Automation vs. SQL Server Agent Job</vt:lpstr>
      <vt:lpstr>Demonstration</vt:lpstr>
      <vt:lpstr>Questions?</vt:lpstr>
      <vt:lpstr>Knowledge Check</vt:lpstr>
      <vt:lpstr>Lesson 4: Azure SQL Database Read Scale-Out</vt:lpstr>
      <vt:lpstr>Objectives</vt:lpstr>
      <vt:lpstr>Introduction – Read Scale-Out  </vt:lpstr>
      <vt:lpstr>Key Points </vt:lpstr>
      <vt:lpstr>How to use Read Scale-Out?</vt:lpstr>
      <vt:lpstr>Demonstration</vt:lpstr>
      <vt:lpstr>Questions?</vt:lpstr>
      <vt:lpstr>Knowledge Check</vt:lpstr>
      <vt:lpstr>Module Summary</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SQL Database Administration</dc:title>
  <dc:creator>Renata Festa</dc:creator>
  <cp:lastModifiedBy>John Deardurff</cp:lastModifiedBy>
  <cp:revision>6</cp:revision>
  <dcterms:created xsi:type="dcterms:W3CDTF">2020-03-25T12:21:59Z</dcterms:created>
  <dcterms:modified xsi:type="dcterms:W3CDTF">2022-01-17T21:01: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2528CD5CA8D1C4FB5CF073D0D91135B</vt:lpwstr>
  </property>
</Properties>
</file>